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4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5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6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7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8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9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10.xml" ContentType="application/vnd.openxmlformats-officedocument.theme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11.xml" ContentType="application/vnd.openxmlformats-officedocument.theme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ppt/theme/themeOverride4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229" r:id="rId1"/>
    <p:sldMasterId id="2147484302" r:id="rId2"/>
    <p:sldMasterId id="2147484323" r:id="rId3"/>
    <p:sldMasterId id="2147484438" r:id="rId4"/>
    <p:sldMasterId id="2147484459" r:id="rId5"/>
    <p:sldMasterId id="2147484478" r:id="rId6"/>
    <p:sldMasterId id="2147484497" r:id="rId7"/>
    <p:sldMasterId id="2147484518" r:id="rId8"/>
    <p:sldMasterId id="2147484567" r:id="rId9"/>
    <p:sldMasterId id="2147484589" r:id="rId10"/>
    <p:sldMasterId id="2147484638" r:id="rId11"/>
    <p:sldMasterId id="2147484650" r:id="rId12"/>
  </p:sldMasterIdLst>
  <p:notesMasterIdLst>
    <p:notesMasterId r:id="rId33"/>
  </p:notesMasterIdLst>
  <p:handoutMasterIdLst>
    <p:handoutMasterId r:id="rId34"/>
  </p:handoutMasterIdLst>
  <p:sldIdLst>
    <p:sldId id="4416" r:id="rId13"/>
    <p:sldId id="2076136914" r:id="rId14"/>
    <p:sldId id="2076136552" r:id="rId15"/>
    <p:sldId id="2076136906" r:id="rId16"/>
    <p:sldId id="2076136877" r:id="rId17"/>
    <p:sldId id="2076136878" r:id="rId18"/>
    <p:sldId id="2076136879" r:id="rId19"/>
    <p:sldId id="2076136917" r:id="rId20"/>
    <p:sldId id="2076136892" r:id="rId21"/>
    <p:sldId id="2076136895" r:id="rId22"/>
    <p:sldId id="2076136897" r:id="rId23"/>
    <p:sldId id="2076136913" r:id="rId24"/>
    <p:sldId id="2076136898" r:id="rId25"/>
    <p:sldId id="2076136912" r:id="rId26"/>
    <p:sldId id="2076136918" r:id="rId27"/>
    <p:sldId id="2076136919" r:id="rId28"/>
    <p:sldId id="2076136899" r:id="rId29"/>
    <p:sldId id="2076136916" r:id="rId30"/>
    <p:sldId id="2076136665" r:id="rId31"/>
    <p:sldId id="2076136644" r:id="rId32"/>
  </p:sldIdLst>
  <p:sldSz cx="12434888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3">
          <p15:clr>
            <a:srgbClr val="A4A3A4"/>
          </p15:clr>
        </p15:guide>
        <p15:guide id="2" pos="391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eu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FFFFF"/>
    <a:srgbClr val="007FFF"/>
    <a:srgbClr val="E82120"/>
    <a:srgbClr val="FFF000"/>
    <a:srgbClr val="E71121"/>
    <a:srgbClr val="011690"/>
    <a:srgbClr val="011E4F"/>
    <a:srgbClr val="000000"/>
    <a:srgbClr val="0012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C3B737A-6CEB-4C72-A572-91907B0152A5}" v="1" dt="2020-07-16T06:12:34.41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440" autoAdjust="0"/>
    <p:restoredTop sz="94455" autoAdjust="0"/>
  </p:normalViewPr>
  <p:slideViewPr>
    <p:cSldViewPr snapToGrid="0">
      <p:cViewPr varScale="1">
        <p:scale>
          <a:sx n="94" d="100"/>
          <a:sy n="94" d="100"/>
        </p:scale>
        <p:origin x="606" y="96"/>
      </p:cViewPr>
      <p:guideLst>
        <p:guide orient="horz" pos="2203"/>
        <p:guide pos="391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tableStyles" Target="tableStyles.xml"/><Relationship Id="rId21" Type="http://schemas.openxmlformats.org/officeDocument/2006/relationships/slide" Target="slides/slide9.xml"/><Relationship Id="rId34" Type="http://schemas.openxmlformats.org/officeDocument/2006/relationships/handoutMaster" Target="handoutMasters/handoutMaster1.xml"/><Relationship Id="rId42" Type="http://schemas.openxmlformats.org/officeDocument/2006/relationships/customXml" Target="../customXml/item2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commentAuthors" Target="commentAuthors.xml"/><Relationship Id="rId43" Type="http://schemas.openxmlformats.org/officeDocument/2006/relationships/customXml" Target="../customXml/item3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-1" y="-11574"/>
            <a:ext cx="3520439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>
                <a:latin typeface="Segoe UI" pitchFamily="34" charset="0"/>
              </a:rPr>
              <a:t>Microsoft Worldwide Partner Conference 2016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7/16/2020 8:12 AM</a:t>
            </a:fld>
            <a:endParaRPr lang="en-US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nr.›</a:t>
            </a:fld>
            <a:endParaRPr lang="en-US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-1" y="0"/>
            <a:ext cx="3520439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/>
              <a:t>Microsoft Worldwide Partner Conference 2016</a:t>
            </a: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7/16/2020 8:09 AM</a:t>
            </a:fld>
            <a:endParaRPr lang="en-US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Microsoft Worldwide Partner Conference 2016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7/16/2020 8:09 AM</a:t>
            </a:fld>
            <a:endParaRPr lang="en-US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1045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Worldwide Partner Conference 2016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16/2020 8:09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57786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Worldwide Partner Conference 2016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16/2020 8:09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59866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Worldwide Partner Conference 2016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16/2020 8:09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95512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Worldwide Partner Conference 2016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16/2020 8:09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21954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Worldwide Partner Conference 2016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16/2020 8:09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5753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Microsoft Worldwide Partner Conference 2016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7/16/2020 8:09 AM</a:t>
            </a:fld>
            <a:endParaRPr lang="en-US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6951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Microsoft Worldwide Partner Conference 2016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7/16/2020 8:09 AM</a:t>
            </a:fld>
            <a:endParaRPr lang="en-US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4368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Microsoft Worldwide Partner Conference 2016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7/16/2020 8:09 AM</a:t>
            </a:fld>
            <a:endParaRPr lang="en-US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5754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Worldwide Partner Conference 2016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16/2020 8:09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98688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Worldwide Partner Conference 2016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16/2020 8:09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15684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Worldwide Partner Conference 2016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16/2020 8:09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1145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Worldwide Partner Conference 2016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16/2020 8:09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80924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Worldwide Partner Conference 2016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16/2020 8:09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14336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6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7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23.png"/><Relationship Id="rId4" Type="http://schemas.openxmlformats.org/officeDocument/2006/relationships/image" Target="../media/image15.sv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3.emf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6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7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6.emf"/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36.emf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2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12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Master" Target="../slideMasters/slideMaster12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12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12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1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12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9.jpeg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Master" Target="../slideMasters/slideMaster12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1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Master" Target="../slideMasters/slideMaster12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sv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3.png"/><Relationship Id="rId4" Type="http://schemas.openxmlformats.org/officeDocument/2006/relationships/image" Target="../media/image15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3.emf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333" y="-16104"/>
            <a:ext cx="12426950" cy="6996952"/>
          </a:xfrm>
          <a:prstGeom prst="rect">
            <a:avLst/>
          </a:prstGeom>
        </p:spPr>
      </p:pic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171" y="6240964"/>
            <a:ext cx="1278347" cy="274137"/>
          </a:xfrm>
          <a:prstGeom prst="rect">
            <a:avLst/>
          </a:prstGeom>
        </p:spPr>
      </p:pic>
      <p:sp>
        <p:nvSpPr>
          <p:cNvPr id="76" name="Freeform 6"/>
          <p:cNvSpPr>
            <a:spLocks/>
          </p:cNvSpPr>
          <p:nvPr userDrawn="1"/>
        </p:nvSpPr>
        <p:spPr bwMode="auto">
          <a:xfrm>
            <a:off x="8601566" y="6180139"/>
            <a:ext cx="4762" cy="4763"/>
          </a:xfrm>
          <a:custGeom>
            <a:avLst/>
            <a:gdLst>
              <a:gd name="T0" fmla="*/ 1 w 1"/>
              <a:gd name="T1" fmla="*/ 0 h 1"/>
              <a:gd name="T2" fmla="*/ 1 w 1"/>
              <a:gd name="T3" fmla="*/ 1 h 1"/>
              <a:gd name="T4" fmla="*/ 1 w 1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1">
                <a:moveTo>
                  <a:pt x="1" y="0"/>
                </a:moveTo>
                <a:cubicBezTo>
                  <a:pt x="0" y="0"/>
                  <a:pt x="1" y="0"/>
                  <a:pt x="1" y="1"/>
                </a:cubicBezTo>
                <a:cubicBezTo>
                  <a:pt x="1" y="0"/>
                  <a:pt x="1" y="0"/>
                  <a:pt x="1" y="0"/>
                </a:cubicBezTo>
                <a:close/>
              </a:path>
            </a:pathLst>
          </a:custGeom>
          <a:solidFill>
            <a:srgbClr val="A8322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90" name="Freeform 19"/>
          <p:cNvSpPr>
            <a:spLocks/>
          </p:cNvSpPr>
          <p:nvPr userDrawn="1"/>
        </p:nvSpPr>
        <p:spPr bwMode="auto">
          <a:xfrm>
            <a:off x="8569820" y="5738814"/>
            <a:ext cx="4762" cy="4763"/>
          </a:xfrm>
          <a:custGeom>
            <a:avLst/>
            <a:gdLst>
              <a:gd name="T0" fmla="*/ 1 w 1"/>
              <a:gd name="T1" fmla="*/ 0 h 1"/>
              <a:gd name="T2" fmla="*/ 1 w 1"/>
              <a:gd name="T3" fmla="*/ 1 h 1"/>
              <a:gd name="T4" fmla="*/ 1 w 1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1">
                <a:moveTo>
                  <a:pt x="1" y="0"/>
                </a:moveTo>
                <a:cubicBezTo>
                  <a:pt x="0" y="0"/>
                  <a:pt x="1" y="0"/>
                  <a:pt x="1" y="1"/>
                </a:cubicBezTo>
                <a:cubicBezTo>
                  <a:pt x="1" y="0"/>
                  <a:pt x="1" y="0"/>
                  <a:pt x="1" y="0"/>
                </a:cubicBezTo>
                <a:close/>
              </a:path>
            </a:pathLst>
          </a:custGeom>
          <a:solidFill>
            <a:srgbClr val="A8322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10609921" y="6225824"/>
            <a:ext cx="1367825" cy="289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96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04" y="1212850"/>
            <a:ext cx="5485699" cy="2425279"/>
          </a:xfrm>
        </p:spPr>
        <p:txBody>
          <a:bodyPr wrap="square">
            <a:spAutoFit/>
          </a:bodyPr>
          <a:lstStyle>
            <a:lvl1pPr marL="287309" indent="-287309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solidFill>
                  <a:srgbClr val="011690"/>
                </a:solidFill>
              </a:defRPr>
            </a:lvl1pPr>
            <a:lvl2pPr marL="531113" indent="-233172">
              <a:defRPr sz="2400"/>
            </a:lvl2pPr>
            <a:lvl3pPr marL="699515" indent="-168402">
              <a:tabLst/>
              <a:defRPr sz="2000"/>
            </a:lvl3pPr>
            <a:lvl4pPr marL="880870" indent="-181356">
              <a:defRPr/>
            </a:lvl4pPr>
            <a:lvl5pPr marL="1049272" indent="-168402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4588" y="1212850"/>
            <a:ext cx="5485699" cy="2425279"/>
          </a:xfrm>
        </p:spPr>
        <p:txBody>
          <a:bodyPr wrap="square">
            <a:spAutoFit/>
          </a:bodyPr>
          <a:lstStyle>
            <a:lvl1pPr marL="287309" indent="-287309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solidFill>
                  <a:srgbClr val="011690"/>
                </a:solidFill>
              </a:defRPr>
            </a:lvl1pPr>
            <a:lvl2pPr marL="531113" indent="-233172">
              <a:defRPr sz="2400"/>
            </a:lvl2pPr>
            <a:lvl3pPr marL="699515" indent="-168402">
              <a:tabLst/>
              <a:defRPr sz="2000"/>
            </a:lvl3pPr>
            <a:lvl4pPr marL="880870" indent="-181356">
              <a:defRPr/>
            </a:lvl4pPr>
            <a:lvl5pPr marL="1049272" indent="-168402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0568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9E07265-7E47-481D-9C2B-6C8BF221FAA5}"/>
              </a:ext>
            </a:extLst>
          </p:cNvPr>
          <p:cNvGrpSpPr/>
          <p:nvPr userDrawn="1"/>
        </p:nvGrpSpPr>
        <p:grpSpPr>
          <a:xfrm>
            <a:off x="6318011" y="-1"/>
            <a:ext cx="6116878" cy="6994526"/>
            <a:chOff x="6194603" y="-1"/>
            <a:chExt cx="5997398" cy="6858001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A5AE405F-E300-4B3D-9110-B06B7584150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73" b="6474"/>
            <a:stretch/>
          </p:blipFill>
          <p:spPr>
            <a:xfrm>
              <a:off x="8502819" y="1461694"/>
              <a:ext cx="3689182" cy="5396306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38D0436A-7978-419B-9760-5EFC6747DD7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821"/>
            <a:stretch/>
          </p:blipFill>
          <p:spPr>
            <a:xfrm>
              <a:off x="7548652" y="-1"/>
              <a:ext cx="1182753" cy="1076699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77C68831-B0BD-42C1-AB2F-BEAC8CFD1FD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214"/>
            <a:stretch/>
          </p:blipFill>
          <p:spPr>
            <a:xfrm>
              <a:off x="6194603" y="5896894"/>
              <a:ext cx="1182753" cy="961106"/>
            </a:xfrm>
            <a:prstGeom prst="rect">
              <a:avLst/>
            </a:prstGeom>
          </p:spPr>
        </p:pic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116439" y="297916"/>
            <a:ext cx="7018912" cy="6397076"/>
          </a:xfrm>
          <a:blipFill>
            <a:blip r:embed="rId4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5130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28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5839" y="2631002"/>
            <a:ext cx="3843982" cy="565027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72" b="1" spc="-5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839" y="3605925"/>
            <a:ext cx="3844392" cy="313904"/>
          </a:xfrm>
        </p:spPr>
        <p:txBody>
          <a:bodyPr/>
          <a:lstStyle>
            <a:lvl1pPr marL="0" indent="0">
              <a:buNone/>
              <a:defRPr sz="2040">
                <a:latin typeface="+mn-lt"/>
              </a:defRPr>
            </a:lvl1pPr>
            <a:lvl2pPr marL="233149" indent="0">
              <a:buNone/>
              <a:defRPr/>
            </a:lvl2pPr>
            <a:lvl3pPr marL="466298" indent="0">
              <a:buNone/>
              <a:defRPr/>
            </a:lvl3pPr>
            <a:lvl4pPr marL="675162" indent="0">
              <a:buNone/>
              <a:defRPr/>
            </a:lvl4pPr>
            <a:lvl5pPr marL="87269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69309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2B071B18-AE3E-4C1A-8C40-38A79DBA86AA}"/>
              </a:ext>
            </a:extLst>
          </p:cNvPr>
          <p:cNvGrpSpPr/>
          <p:nvPr userDrawn="1"/>
        </p:nvGrpSpPr>
        <p:grpSpPr>
          <a:xfrm>
            <a:off x="6318011" y="1"/>
            <a:ext cx="6116878" cy="6994526"/>
            <a:chOff x="6194603" y="0"/>
            <a:chExt cx="5997398" cy="6858001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A874D211-CD8A-4B0E-B9C0-C2FF7D72BEE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471513C0-489E-4E2E-9C12-D1DC6B98AB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984DC410-B12F-4706-B9C8-EBBBA766DAC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5839" y="3040994"/>
            <a:ext cx="3844570" cy="878930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56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116439" y="297916"/>
            <a:ext cx="7018912" cy="6397076"/>
          </a:xfrm>
          <a:blipFill>
            <a:blip r:embed="rId4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5130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28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7179886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3765DB89-7B31-44F9-9B76-2E06E7805A5E}"/>
              </a:ext>
            </a:extLst>
          </p:cNvPr>
          <p:cNvGrpSpPr/>
          <p:nvPr userDrawn="1"/>
        </p:nvGrpSpPr>
        <p:grpSpPr>
          <a:xfrm>
            <a:off x="6318011" y="1"/>
            <a:ext cx="6116878" cy="6994526"/>
            <a:chOff x="6194603" y="0"/>
            <a:chExt cx="5997398" cy="6858001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58E8D605-B082-4C02-839C-9C18EA6541D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3E9382F8-B3AE-4F98-8782-19AA597713F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3D3278C9-22EA-4588-8125-8F64C455E53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875" y="3093607"/>
            <a:ext cx="6528316" cy="508524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513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72" b="1" kern="1200" cap="none" spc="-51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96875" y="4056498"/>
            <a:ext cx="6528316" cy="31390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4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265382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9ECE3688-F7FF-4D8A-BE15-6CEE4046B621}"/>
              </a:ext>
            </a:extLst>
          </p:cNvPr>
          <p:cNvGrpSpPr/>
          <p:nvPr userDrawn="1"/>
        </p:nvGrpSpPr>
        <p:grpSpPr>
          <a:xfrm>
            <a:off x="6318011" y="1"/>
            <a:ext cx="6116878" cy="6994526"/>
            <a:chOff x="6194603" y="0"/>
            <a:chExt cx="5997398" cy="6858001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CDA126B3-3793-49DF-951A-6BEC5934FFC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7DE8673A-798E-4BFA-88EE-4BCCF0BF217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05970F2A-65AD-4C60-92A1-97326C8B610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875" y="3096243"/>
            <a:ext cx="6528316" cy="508524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513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72" b="1" kern="1200" cap="none" spc="-51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2760503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A8E8A28C-CBDE-4C67-825F-C47808C9BDD6}"/>
              </a:ext>
            </a:extLst>
          </p:cNvPr>
          <p:cNvGrpSpPr/>
          <p:nvPr userDrawn="1"/>
        </p:nvGrpSpPr>
        <p:grpSpPr>
          <a:xfrm>
            <a:off x="6318011" y="1"/>
            <a:ext cx="6116878" cy="6994526"/>
            <a:chOff x="6194603" y="0"/>
            <a:chExt cx="5997398" cy="6858001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E6ED7E4A-DB81-4ED7-82E1-34B79F3FF4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11E4BCF2-710C-4869-A4C5-C1345D5F2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7B7B7A20-BA31-44FA-9F1C-298649B34CF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875" y="3096243"/>
            <a:ext cx="6528316" cy="508524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513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72" b="1" kern="1200" cap="none" spc="-51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34706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54931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9982" y="1465289"/>
            <a:ext cx="11238030" cy="1946203"/>
          </a:xfrm>
        </p:spPr>
        <p:txBody>
          <a:bodyPr/>
          <a:lstStyle>
            <a:lvl1pPr marL="0" indent="0">
              <a:buNone/>
              <a:defRPr sz="2856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53449" indent="0">
              <a:buNone/>
              <a:defRPr sz="2448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96241" indent="0">
              <a:buNone/>
              <a:defRPr sz="204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30773" indent="0">
              <a:buNone/>
              <a:defRPr sz="1836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71912" indent="0">
              <a:buNone/>
              <a:defRPr sz="1836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67865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95839" y="6281748"/>
            <a:ext cx="4571416" cy="11209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50843" eaLnBrk="0" hangingPunct="0"/>
            <a:r>
              <a:rPr lang="en-US" sz="714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95838" y="597450"/>
            <a:ext cx="1393662" cy="29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883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95839" y="1465289"/>
            <a:ext cx="11238354" cy="2260106"/>
          </a:xfrm>
        </p:spPr>
        <p:txBody>
          <a:bodyPr>
            <a:spAutoFit/>
          </a:bodyPr>
          <a:lstStyle>
            <a:lvl1pPr>
              <a:defRPr sz="3672">
                <a:latin typeface="+mn-lt"/>
              </a:defRPr>
            </a:lvl1pPr>
            <a:lvl2pPr>
              <a:defRPr sz="2856">
                <a:latin typeface="+mn-lt"/>
              </a:defRPr>
            </a:lvl2pPr>
            <a:lvl3pPr>
              <a:defRPr sz="2448">
                <a:latin typeface="+mn-lt"/>
              </a:defRPr>
            </a:lvl3pPr>
            <a:lvl4pPr>
              <a:defRPr sz="2040">
                <a:latin typeface="+mn-lt"/>
              </a:defRPr>
            </a:lvl4pPr>
            <a:lvl5pPr>
              <a:defRPr sz="1836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93839"/>
            <a:ext cx="12434889" cy="600688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74" spc="-52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8686013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454" y="296862"/>
            <a:ext cx="6903897" cy="565027"/>
          </a:xfrm>
        </p:spPr>
        <p:txBody>
          <a:bodyPr/>
          <a:lstStyle>
            <a:lvl1pPr>
              <a:defRPr sz="3672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31453" y="4868863"/>
            <a:ext cx="6903897" cy="1828800"/>
          </a:xfrm>
        </p:spPr>
        <p:txBody>
          <a:bodyPr wrap="square">
            <a:noAutofit/>
          </a:bodyPr>
          <a:lstStyle>
            <a:lvl1pPr marL="0" indent="0">
              <a:spcBef>
                <a:spcPts val="1800"/>
              </a:spcBef>
              <a:buNone/>
              <a:defRPr sz="2040">
                <a:latin typeface="+mn-lt"/>
              </a:defRPr>
            </a:lvl1pPr>
            <a:lvl2pPr marL="228557" indent="0">
              <a:buNone/>
              <a:defRPr/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1" y="0"/>
            <a:ext cx="4925067" cy="6995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5636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04" y="1212850"/>
            <a:ext cx="5485699" cy="2425279"/>
          </a:xfrm>
        </p:spPr>
        <p:txBody>
          <a:bodyPr wrap="square">
            <a:spAutoFit/>
          </a:bodyPr>
          <a:lstStyle>
            <a:lvl1pPr marL="287309" indent="-287309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13" indent="-233172">
              <a:defRPr sz="2400"/>
            </a:lvl2pPr>
            <a:lvl3pPr marL="699515" indent="-168402">
              <a:tabLst/>
              <a:defRPr sz="2000"/>
            </a:lvl3pPr>
            <a:lvl4pPr marL="880870" indent="-181356">
              <a:defRPr/>
            </a:lvl4pPr>
            <a:lvl5pPr marL="1049272" indent="-168402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4588" y="1212850"/>
            <a:ext cx="5485699" cy="2425279"/>
          </a:xfrm>
        </p:spPr>
        <p:txBody>
          <a:bodyPr wrap="square">
            <a:spAutoFit/>
          </a:bodyPr>
          <a:lstStyle>
            <a:lvl1pPr marL="287309" indent="-287309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13" indent="-233172">
              <a:defRPr sz="2400"/>
            </a:lvl2pPr>
            <a:lvl3pPr marL="699515" indent="-168402">
              <a:tabLst/>
              <a:defRPr sz="2000"/>
            </a:lvl3pPr>
            <a:lvl4pPr marL="880870" indent="-181356">
              <a:defRPr/>
            </a:lvl4pPr>
            <a:lvl5pPr marL="1049272" indent="-168402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1FA902-F445-4387-B00C-BF23EB7D89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CEF3B4-293C-4302-A830-94FA3C25A0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047E3-EE21-42A4-AF7F-F1491DE7C5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1024E-D68C-4DA9-BD1F-46570011FA3C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32822D-4897-412B-96B2-AC9F706AA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AEA52C-AC41-4A81-A2BA-EB1A45AFA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C64EA-2E68-42C6-8679-DDF498DD051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87355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C20C272-8E66-429C-A9F7-1C4E612DB65F}"/>
              </a:ext>
            </a:extLst>
          </p:cNvPr>
          <p:cNvCxnSpPr>
            <a:cxnSpLocks/>
          </p:cNvCxnSpPr>
          <p:nvPr userDrawn="1"/>
        </p:nvCxnSpPr>
        <p:spPr>
          <a:xfrm>
            <a:off x="12132749" y="1853549"/>
            <a:ext cx="0" cy="724711"/>
          </a:xfrm>
          <a:prstGeom prst="line">
            <a:avLst/>
          </a:prstGeom>
          <a:ln>
            <a:solidFill>
              <a:srgbClr val="D83B0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95838" y="597747"/>
            <a:ext cx="1393662" cy="298433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8882" y="1193732"/>
            <a:ext cx="11835810" cy="5501259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51028" fontAlgn="base">
              <a:spcBef>
                <a:spcPct val="0"/>
              </a:spcBef>
              <a:spcAft>
                <a:spcPct val="0"/>
              </a:spcAft>
            </a:pPr>
            <a:endParaRPr lang="en-US" sz="204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906857" y="3136130"/>
            <a:ext cx="2367734" cy="14580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51304" rtl="0" eaLnBrk="1" fontAlgn="auto" latinLnBrk="0" hangingPunct="1">
              <a:lnSpc>
                <a:spcPct val="10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52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51304" rtl="0" eaLnBrk="1" fontAlgn="auto" latinLnBrk="0" hangingPunct="1">
              <a:lnSpc>
                <a:spcPct val="10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52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51304" rtl="0" eaLnBrk="1" fontAlgn="auto" latinLnBrk="0" hangingPunct="1">
              <a:lnSpc>
                <a:spcPct val="10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52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97585" y="3247133"/>
            <a:ext cx="2766341" cy="1394459"/>
          </a:xfrm>
          <a:prstGeom prst="rect">
            <a:avLst/>
          </a:prstGeom>
          <a:effectLst/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786210CF-A0F8-409C-A4D3-027E8C0B2F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r="6311"/>
          <a:stretch/>
        </p:blipFill>
        <p:spPr>
          <a:xfrm>
            <a:off x="8891189" y="1852314"/>
            <a:ext cx="3543699" cy="42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946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36EA2AC-FEA2-4901-8495-272A5FA7FC20}"/>
              </a:ext>
            </a:extLst>
          </p:cNvPr>
          <p:cNvGrpSpPr/>
          <p:nvPr userDrawn="1"/>
        </p:nvGrpSpPr>
        <p:grpSpPr>
          <a:xfrm>
            <a:off x="6318011" y="-1"/>
            <a:ext cx="6116878" cy="6994526"/>
            <a:chOff x="6194603" y="-1"/>
            <a:chExt cx="5997398" cy="6858001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A096FE2B-3270-4E2C-AD0E-3AB4FD1B86F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73" b="6474"/>
            <a:stretch/>
          </p:blipFill>
          <p:spPr>
            <a:xfrm>
              <a:off x="8502819" y="1461694"/>
              <a:ext cx="3689182" cy="5396306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94A5D7CE-1FED-4CEA-810D-4198E992429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821"/>
            <a:stretch/>
          </p:blipFill>
          <p:spPr>
            <a:xfrm>
              <a:off x="7548652" y="-1"/>
              <a:ext cx="1182753" cy="1076699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9BF408BE-3FB0-4FA0-B683-0E647B7E04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214"/>
            <a:stretch/>
          </p:blipFill>
          <p:spPr>
            <a:xfrm>
              <a:off x="6194603" y="5896894"/>
              <a:ext cx="1182753" cy="961106"/>
            </a:xfrm>
            <a:prstGeom prst="rect">
              <a:avLst/>
            </a:prstGeom>
          </p:spPr>
        </p:pic>
      </p:grpSp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95838" y="597450"/>
            <a:ext cx="1393662" cy="2984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981" y="3038854"/>
            <a:ext cx="6062008" cy="565027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93636" y="4041282"/>
            <a:ext cx="6062008" cy="31390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4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95417" y="597450"/>
            <a:ext cx="2745253" cy="282513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5130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36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>
                <a:latin typeface="+mj-lt"/>
              </a:rPr>
              <a:t>Session code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9086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8072" y="1462924"/>
            <a:ext cx="11238030" cy="164487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33149" indent="0">
              <a:buNone/>
              <a:defRPr/>
            </a:lvl2pPr>
            <a:lvl3pPr marL="466298" indent="0">
              <a:buNone/>
              <a:defRPr/>
            </a:lvl3pPr>
            <a:lvl4pPr marL="699447" indent="0">
              <a:buNone/>
              <a:defRPr/>
            </a:lvl4pPr>
            <a:lvl5pPr marL="93259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085368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5838" y="1464074"/>
            <a:ext cx="11238030" cy="164487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15699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5838" y="1463669"/>
            <a:ext cx="5315915" cy="1682523"/>
          </a:xfrm>
        </p:spPr>
        <p:txBody>
          <a:bodyPr wrap="square">
            <a:spAutoFit/>
          </a:bodyPr>
          <a:lstStyle>
            <a:lvl1pPr marL="0" indent="0">
              <a:spcBef>
                <a:spcPts val="1248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56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60674" indent="0">
              <a:buFont typeface="Wingdings" panose="05000000000000000000" pitchFamily="2" charset="2"/>
              <a:buNone/>
              <a:defRPr sz="2040" b="0"/>
            </a:lvl2pPr>
            <a:lvl3pPr marL="459822" indent="0">
              <a:buFont typeface="Wingdings" panose="05000000000000000000" pitchFamily="2" charset="2"/>
              <a:buNone/>
              <a:tabLst/>
              <a:defRPr sz="1632" b="0"/>
            </a:lvl3pPr>
            <a:lvl4pPr marL="665446" indent="0">
              <a:buFont typeface="Wingdings" panose="05000000000000000000" pitchFamily="2" charset="2"/>
              <a:buNone/>
              <a:defRPr sz="1428" b="0"/>
            </a:lvl4pPr>
            <a:lvl5pPr marL="871071" indent="0">
              <a:buFont typeface="Wingdings" panose="05000000000000000000" pitchFamily="2" charset="2"/>
              <a:buNone/>
              <a:tabLst/>
              <a:defRPr sz="1428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24615" y="1463669"/>
            <a:ext cx="5315915" cy="1682523"/>
          </a:xfrm>
        </p:spPr>
        <p:txBody>
          <a:bodyPr wrap="square">
            <a:spAutoFit/>
          </a:bodyPr>
          <a:lstStyle>
            <a:lvl1pPr marL="0" indent="0">
              <a:spcBef>
                <a:spcPts val="1248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56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60674" indent="0">
              <a:buFont typeface="Wingdings" panose="05000000000000000000" pitchFamily="2" charset="2"/>
              <a:buNone/>
              <a:defRPr sz="2040" b="0"/>
            </a:lvl2pPr>
            <a:lvl3pPr marL="459822" indent="0">
              <a:buFont typeface="Wingdings" panose="05000000000000000000" pitchFamily="2" charset="2"/>
              <a:buNone/>
              <a:tabLst/>
              <a:defRPr sz="1632" b="0"/>
            </a:lvl3pPr>
            <a:lvl4pPr marL="665446" indent="0">
              <a:buFont typeface="Wingdings" panose="05000000000000000000" pitchFamily="2" charset="2"/>
              <a:buNone/>
              <a:defRPr sz="1428" b="0"/>
            </a:lvl4pPr>
            <a:lvl5pPr marL="871071" indent="0">
              <a:buFont typeface="Wingdings" panose="05000000000000000000" pitchFamily="2" charset="2"/>
              <a:buNone/>
              <a:tabLst/>
              <a:defRPr sz="1428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552058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5838" y="1466097"/>
            <a:ext cx="5315915" cy="1682523"/>
          </a:xfrm>
        </p:spPr>
        <p:txBody>
          <a:bodyPr wrap="square">
            <a:spAutoFit/>
          </a:bodyPr>
          <a:lstStyle>
            <a:lvl1pPr marL="236387" indent="-236387">
              <a:spcBef>
                <a:spcPts val="1248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56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35536" indent="-174862">
              <a:buFont typeface="Wingdings" panose="05000000000000000000" pitchFamily="2" charset="2"/>
              <a:buChar char=""/>
              <a:defRPr sz="2040" b="0"/>
            </a:lvl2pPr>
            <a:lvl3pPr marL="652494" indent="-192672">
              <a:buFont typeface="Wingdings" panose="05000000000000000000" pitchFamily="2" charset="2"/>
              <a:buChar char=""/>
              <a:tabLst/>
              <a:defRPr sz="1632" b="0"/>
            </a:lvl3pPr>
            <a:lvl4pPr marL="845166" indent="-179720">
              <a:buFont typeface="Wingdings" panose="05000000000000000000" pitchFamily="2" charset="2"/>
              <a:buChar char=""/>
              <a:defRPr sz="1428" b="0"/>
            </a:lvl4pPr>
            <a:lvl5pPr marL="1044314" indent="-173243">
              <a:buFont typeface="Wingdings" panose="05000000000000000000" pitchFamily="2" charset="2"/>
              <a:buChar char=""/>
              <a:tabLst/>
              <a:defRPr sz="1428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17213" y="1466097"/>
            <a:ext cx="5315915" cy="1682523"/>
          </a:xfrm>
        </p:spPr>
        <p:txBody>
          <a:bodyPr wrap="square">
            <a:spAutoFit/>
          </a:bodyPr>
          <a:lstStyle>
            <a:lvl1pPr marL="236387" indent="-236387">
              <a:spcBef>
                <a:spcPts val="1248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56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35536" indent="-174862">
              <a:buFont typeface="Wingdings" panose="05000000000000000000" pitchFamily="2" charset="2"/>
              <a:buChar char=""/>
              <a:defRPr sz="2040" b="0"/>
            </a:lvl2pPr>
            <a:lvl3pPr marL="652494" indent="-192672">
              <a:buFont typeface="Wingdings" panose="05000000000000000000" pitchFamily="2" charset="2"/>
              <a:buChar char=""/>
              <a:tabLst/>
              <a:defRPr sz="1632" b="0"/>
            </a:lvl3pPr>
            <a:lvl4pPr marL="845166" indent="-179720">
              <a:buFont typeface="Wingdings" panose="05000000000000000000" pitchFamily="2" charset="2"/>
              <a:buChar char=""/>
              <a:defRPr sz="1428" b="0"/>
            </a:lvl4pPr>
            <a:lvl5pPr marL="1044314" indent="-173243">
              <a:buFont typeface="Wingdings" panose="05000000000000000000" pitchFamily="2" charset="2"/>
              <a:buChar char=""/>
              <a:tabLst/>
              <a:defRPr sz="1428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5556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63088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03673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839" y="466302"/>
            <a:ext cx="5618157" cy="379824"/>
          </a:xfrm>
        </p:spPr>
        <p:txBody>
          <a:bodyPr tIns="64008"/>
          <a:lstStyle>
            <a:lvl1pPr>
              <a:defRPr sz="204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38262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9E07265-7E47-481D-9C2B-6C8BF221FAA5}"/>
              </a:ext>
            </a:extLst>
          </p:cNvPr>
          <p:cNvGrpSpPr/>
          <p:nvPr userDrawn="1"/>
        </p:nvGrpSpPr>
        <p:grpSpPr>
          <a:xfrm>
            <a:off x="6318011" y="-1"/>
            <a:ext cx="6116878" cy="6994526"/>
            <a:chOff x="6194603" y="-1"/>
            <a:chExt cx="5997398" cy="6858001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A5AE405F-E300-4B3D-9110-B06B7584150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73" b="6474"/>
            <a:stretch/>
          </p:blipFill>
          <p:spPr>
            <a:xfrm>
              <a:off x="8502819" y="1461694"/>
              <a:ext cx="3689182" cy="5396306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38D0436A-7978-419B-9760-5EFC6747DD7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821"/>
            <a:stretch/>
          </p:blipFill>
          <p:spPr>
            <a:xfrm>
              <a:off x="7548652" y="-1"/>
              <a:ext cx="1182753" cy="1076699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77C68831-B0BD-42C1-AB2F-BEAC8CFD1FD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214"/>
            <a:stretch/>
          </p:blipFill>
          <p:spPr>
            <a:xfrm>
              <a:off x="6194603" y="5896894"/>
              <a:ext cx="1182753" cy="961106"/>
            </a:xfrm>
            <a:prstGeom prst="rect">
              <a:avLst/>
            </a:prstGeom>
          </p:spPr>
        </p:pic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116439" y="297916"/>
            <a:ext cx="7018912" cy="6397076"/>
          </a:xfrm>
          <a:blipFill>
            <a:blip r:embed="rId4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5130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28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5839" y="2631002"/>
            <a:ext cx="3843982" cy="565027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72" b="1" spc="-5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839" y="3605925"/>
            <a:ext cx="3844392" cy="313904"/>
          </a:xfrm>
        </p:spPr>
        <p:txBody>
          <a:bodyPr/>
          <a:lstStyle>
            <a:lvl1pPr marL="0" indent="0">
              <a:buNone/>
              <a:defRPr sz="2040">
                <a:latin typeface="+mn-lt"/>
              </a:defRPr>
            </a:lvl1pPr>
            <a:lvl2pPr marL="233149" indent="0">
              <a:buNone/>
              <a:defRPr/>
            </a:lvl2pPr>
            <a:lvl3pPr marL="466298" indent="0">
              <a:buNone/>
              <a:defRPr/>
            </a:lvl3pPr>
            <a:lvl4pPr marL="675162" indent="0">
              <a:buNone/>
              <a:defRPr/>
            </a:lvl4pPr>
            <a:lvl5pPr marL="87269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07521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2B071B18-AE3E-4C1A-8C40-38A79DBA86AA}"/>
              </a:ext>
            </a:extLst>
          </p:cNvPr>
          <p:cNvGrpSpPr/>
          <p:nvPr userDrawn="1"/>
        </p:nvGrpSpPr>
        <p:grpSpPr>
          <a:xfrm>
            <a:off x="6318011" y="1"/>
            <a:ext cx="6116878" cy="6994526"/>
            <a:chOff x="6194603" y="0"/>
            <a:chExt cx="5997398" cy="6858001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A874D211-CD8A-4B0E-B9C0-C2FF7D72BEE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471513C0-489E-4E2E-9C12-D1DC6B98AB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984DC410-B12F-4706-B9C8-EBBBA766DAC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5839" y="3040994"/>
            <a:ext cx="3844570" cy="878930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56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116439" y="297916"/>
            <a:ext cx="7018912" cy="6397076"/>
          </a:xfrm>
          <a:blipFill>
            <a:blip r:embed="rId4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5130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28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6531426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3765DB89-7B31-44F9-9B76-2E06E7805A5E}"/>
              </a:ext>
            </a:extLst>
          </p:cNvPr>
          <p:cNvGrpSpPr/>
          <p:nvPr userDrawn="1"/>
        </p:nvGrpSpPr>
        <p:grpSpPr>
          <a:xfrm>
            <a:off x="6318011" y="1"/>
            <a:ext cx="6116878" cy="6994526"/>
            <a:chOff x="6194603" y="0"/>
            <a:chExt cx="5997398" cy="6858001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58E8D605-B082-4C02-839C-9C18EA6541D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3E9382F8-B3AE-4F98-8782-19AA597713F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3D3278C9-22EA-4588-8125-8F64C455E53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875" y="3093607"/>
            <a:ext cx="6528316" cy="508524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513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72" b="1" kern="1200" cap="none" spc="-51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96875" y="4056498"/>
            <a:ext cx="6528316" cy="31390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4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6930819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9ECE3688-F7FF-4D8A-BE15-6CEE4046B621}"/>
              </a:ext>
            </a:extLst>
          </p:cNvPr>
          <p:cNvGrpSpPr/>
          <p:nvPr userDrawn="1"/>
        </p:nvGrpSpPr>
        <p:grpSpPr>
          <a:xfrm>
            <a:off x="6318011" y="1"/>
            <a:ext cx="6116878" cy="6994526"/>
            <a:chOff x="6194603" y="0"/>
            <a:chExt cx="5997398" cy="6858001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CDA126B3-3793-49DF-951A-6BEC5934FFC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7DE8673A-798E-4BFA-88EE-4BCCF0BF217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05970F2A-65AD-4C60-92A1-97326C8B610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875" y="3096243"/>
            <a:ext cx="6528316" cy="508524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513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72" b="1" kern="1200" cap="none" spc="-51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42792779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A8E8A28C-CBDE-4C67-825F-C47808C9BDD6}"/>
              </a:ext>
            </a:extLst>
          </p:cNvPr>
          <p:cNvGrpSpPr/>
          <p:nvPr userDrawn="1"/>
        </p:nvGrpSpPr>
        <p:grpSpPr>
          <a:xfrm>
            <a:off x="6318011" y="1"/>
            <a:ext cx="6116878" cy="6994526"/>
            <a:chOff x="6194603" y="0"/>
            <a:chExt cx="5997398" cy="6858001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E6ED7E4A-DB81-4ED7-82E1-34B79F3FF4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58" b="6473"/>
            <a:stretch/>
          </p:blipFill>
          <p:spPr>
            <a:xfrm>
              <a:off x="8501387" y="1460680"/>
              <a:ext cx="3690614" cy="5397320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11E4BCF2-710C-4869-A4C5-C1345D5F2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645"/>
            <a:stretch/>
          </p:blipFill>
          <p:spPr>
            <a:xfrm>
              <a:off x="7548652" y="0"/>
              <a:ext cx="1179576" cy="1076231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7B7B7A20-BA31-44FA-9F1C-298649B34CF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060"/>
            <a:stretch/>
          </p:blipFill>
          <p:spPr>
            <a:xfrm>
              <a:off x="6194603" y="5897361"/>
              <a:ext cx="1179576" cy="96064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875" y="3096243"/>
            <a:ext cx="6528316" cy="508524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513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72" b="1" kern="1200" cap="none" spc="-51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04284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09754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9982" y="1465289"/>
            <a:ext cx="11238030" cy="1946203"/>
          </a:xfrm>
        </p:spPr>
        <p:txBody>
          <a:bodyPr/>
          <a:lstStyle>
            <a:lvl1pPr marL="0" indent="0">
              <a:buNone/>
              <a:defRPr sz="2856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53449" indent="0">
              <a:buNone/>
              <a:defRPr sz="2448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96241" indent="0">
              <a:buNone/>
              <a:defRPr sz="204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30773" indent="0">
              <a:buNone/>
              <a:defRPr sz="1836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71912" indent="0">
              <a:buNone/>
              <a:defRPr sz="1836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569434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95839" y="6281748"/>
            <a:ext cx="4571416" cy="11209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50843" eaLnBrk="0" hangingPunct="0"/>
            <a:r>
              <a:rPr lang="en-US" sz="714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95838" y="597450"/>
            <a:ext cx="1393662" cy="29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037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95839" y="1465289"/>
            <a:ext cx="11238354" cy="2260106"/>
          </a:xfrm>
        </p:spPr>
        <p:txBody>
          <a:bodyPr>
            <a:spAutoFit/>
          </a:bodyPr>
          <a:lstStyle>
            <a:lvl1pPr>
              <a:defRPr sz="3672">
                <a:latin typeface="+mn-lt"/>
              </a:defRPr>
            </a:lvl1pPr>
            <a:lvl2pPr>
              <a:defRPr sz="2856">
                <a:latin typeface="+mn-lt"/>
              </a:defRPr>
            </a:lvl2pPr>
            <a:lvl3pPr>
              <a:defRPr sz="2448">
                <a:latin typeface="+mn-lt"/>
              </a:defRPr>
            </a:lvl3pPr>
            <a:lvl4pPr>
              <a:defRPr sz="2040">
                <a:latin typeface="+mn-lt"/>
              </a:defRPr>
            </a:lvl4pPr>
            <a:lvl5pPr>
              <a:defRPr sz="1836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93839"/>
            <a:ext cx="12434889" cy="600688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74" spc="-52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522312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667" y="1211263"/>
            <a:ext cx="9142769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66" y="3041372"/>
            <a:ext cx="7314204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758901"/>
            <a:ext cx="12434253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21" y="6209084"/>
            <a:ext cx="1456232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2655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4" y="1209973"/>
            <a:ext cx="4570695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9" spc="-100" baseline="0">
                <a:solidFill>
                  <a:srgbClr val="011690"/>
                </a:soli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04" y="3954463"/>
            <a:ext cx="4571417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"/>
          <a:stretch/>
        </p:blipFill>
        <p:spPr>
          <a:xfrm>
            <a:off x="5302449" y="447"/>
            <a:ext cx="7130850" cy="6999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04" y="1212850"/>
            <a:ext cx="11887269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557" indent="0">
              <a:buNone/>
              <a:defRPr/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82271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68" y="1211287"/>
            <a:ext cx="11887269" cy="231170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31063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05" y="1211287"/>
            <a:ext cx="54856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39" indent="0">
              <a:buFont typeface="Wingdings" panose="05000000000000000000" pitchFamily="2" charset="2"/>
              <a:buNone/>
              <a:defRPr sz="2400" b="0"/>
            </a:lvl2pPr>
            <a:lvl3pPr marL="450763" indent="0">
              <a:buFont typeface="Wingdings" panose="05000000000000000000" pitchFamily="2" charset="2"/>
              <a:buNone/>
              <a:tabLst/>
              <a:defRPr sz="2200" b="0"/>
            </a:lvl3pPr>
            <a:lvl4pPr marL="652336" indent="0">
              <a:buFont typeface="Wingdings" panose="05000000000000000000" pitchFamily="2" charset="2"/>
              <a:buNone/>
              <a:defRPr sz="2200" b="0"/>
            </a:lvl4pPr>
            <a:lvl5pPr marL="853911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4587" y="1211288"/>
            <a:ext cx="5485699" cy="2511229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39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763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336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3911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251" marR="0" lvl="0" indent="-514251" algn="l" defTabSz="932563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14251" marR="0" lvl="1" indent="-514251" algn="l" defTabSz="932563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14251" marR="0" lvl="2" indent="-514251" algn="l" defTabSz="932563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14251" marR="0" lvl="3" indent="-514251" algn="l" defTabSz="932563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14251" marR="0" lvl="4" indent="-514251" algn="l" defTabSz="932563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88676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05" y="1211287"/>
            <a:ext cx="5485699" cy="2157514"/>
          </a:xfrm>
        </p:spPr>
        <p:txBody>
          <a:bodyPr wrap="square">
            <a:spAutoFit/>
          </a:bodyPr>
          <a:lstStyle>
            <a:lvl1pPr marL="231730" indent="-23173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6956" indent="-171417">
              <a:buFont typeface="Wingdings" panose="05000000000000000000" pitchFamily="2" charset="2"/>
              <a:buChar char=""/>
              <a:defRPr sz="2400" b="0"/>
            </a:lvl2pPr>
            <a:lvl3pPr marL="639640" indent="-188876">
              <a:buFont typeface="Wingdings" panose="05000000000000000000" pitchFamily="2" charset="2"/>
              <a:buChar char=""/>
              <a:tabLst/>
              <a:defRPr sz="2200" b="0"/>
            </a:lvl3pPr>
            <a:lvl4pPr marL="828516" indent="-176180">
              <a:buFont typeface="Wingdings" panose="05000000000000000000" pitchFamily="2" charset="2"/>
              <a:buChar char=""/>
              <a:defRPr sz="2200" b="0"/>
            </a:lvl4pPr>
            <a:lvl5pPr marL="1023741" indent="-169831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4587" y="1211288"/>
            <a:ext cx="5485699" cy="251122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373" indent="-342834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597" indent="-342834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170" indent="-342834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746" indent="-342834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30" marR="0" lvl="0" indent="-231730" algn="l" defTabSz="932563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31730" marR="0" lvl="1" indent="-231730" algn="l" defTabSz="932563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31730" marR="0" lvl="2" indent="-231730" algn="l" defTabSz="932563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31730" marR="0" lvl="3" indent="-231730" algn="l" defTabSz="932563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31730" marR="0" lvl="4" indent="-231730" algn="l" defTabSz="932563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26509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26040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3" y="2125677"/>
            <a:ext cx="10055528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04" y="3954463"/>
            <a:ext cx="10057118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9822126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4" y="2125677"/>
            <a:ext cx="10055528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6936555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3" y="2125663"/>
            <a:ext cx="11885684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950647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3" y="2125663"/>
            <a:ext cx="11885684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439357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4" y="2740132"/>
            <a:ext cx="4891416" cy="1514261"/>
          </a:xfrm>
        </p:spPr>
        <p:txBody>
          <a:bodyPr wrap="square" anchor="ctr">
            <a:spAutoFit/>
          </a:bodyPr>
          <a:lstStyle>
            <a:lvl1pPr>
              <a:defRPr sz="47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0620" y="0"/>
            <a:ext cx="6994268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709693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4" y="1209973"/>
            <a:ext cx="4570695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9" spc="-100" baseline="0">
                <a:solidFill>
                  <a:srgbClr val="011690"/>
                </a:solidFill>
              </a:defRPr>
            </a:lvl1pPr>
          </a:lstStyle>
          <a:p>
            <a:r>
              <a:rPr lang="en-US"/>
              <a:t>Video tit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03171" y="1"/>
            <a:ext cx="7133302" cy="6999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147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11688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36055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0316" y="295275"/>
            <a:ext cx="7042334" cy="917575"/>
          </a:xfrm>
        </p:spPr>
        <p:txBody>
          <a:bodyPr/>
          <a:lstStyle>
            <a:lvl1pPr>
              <a:defRPr sz="3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120317" y="4868863"/>
            <a:ext cx="7041557" cy="1828800"/>
          </a:xfrm>
        </p:spPr>
        <p:txBody>
          <a:bodyPr wrap="square">
            <a:noAutofit/>
          </a:bodyPr>
          <a:lstStyle>
            <a:lvl1pPr marL="0" indent="0">
              <a:spcBef>
                <a:spcPts val="1800"/>
              </a:spcBef>
              <a:buNone/>
              <a:defRPr sz="2000">
                <a:latin typeface="+mn-lt"/>
              </a:defRPr>
            </a:lvl1pPr>
            <a:lvl2pPr marL="228557" indent="0">
              <a:buNone/>
              <a:defRPr/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1" y="0"/>
            <a:ext cx="4925067" cy="6995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6802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4888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764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03" y="1221158"/>
            <a:ext cx="11885682" cy="2270177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3285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04" y="6220609"/>
            <a:ext cx="4571416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82854" rIns="182854" bIns="182854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0630" y="479425"/>
            <a:ext cx="145165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3008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03" y="1212851"/>
            <a:ext cx="11885684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4889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69943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667" y="2125678"/>
            <a:ext cx="9142769" cy="1828786"/>
          </a:xfrm>
          <a:noFill/>
        </p:spPr>
        <p:txBody>
          <a:bodyPr lIns="146304" tIns="91440" rIns="146304" bIns="91440" anchor="t" anchorCtr="0"/>
          <a:lstStyle>
            <a:lvl1pPr>
              <a:defRPr sz="5398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67" y="3955786"/>
            <a:ext cx="7314204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8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0631" y="479425"/>
            <a:ext cx="1451658" cy="310896"/>
          </a:xfrm>
          <a:prstGeom prst="rect">
            <a:avLst/>
          </a:prstGeom>
        </p:spPr>
      </p:pic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505820" y="294306"/>
            <a:ext cx="365713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768" indent="0">
              <a:buNone/>
              <a:defRPr sz="2000"/>
            </a:lvl2pPr>
            <a:lvl3pPr marL="571281" indent="0">
              <a:buNone/>
              <a:defRPr sz="2000"/>
            </a:lvl3pPr>
            <a:lvl4pPr marL="799792" indent="0">
              <a:buNone/>
              <a:defRPr sz="2000"/>
            </a:lvl4pPr>
            <a:lvl5pPr marL="1028305" indent="0">
              <a:buNone/>
              <a:defRPr sz="2000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74669" y="6116468"/>
            <a:ext cx="3657133" cy="578303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2000">
                <a:latin typeface="+mn-lt"/>
              </a:defRPr>
            </a:lvl1pPr>
            <a:lvl2pPr marL="342768" indent="0">
              <a:buNone/>
              <a:defRPr sz="2000"/>
            </a:lvl2pPr>
            <a:lvl3pPr marL="571281" indent="0">
              <a:buNone/>
              <a:defRPr sz="2000"/>
            </a:lvl3pPr>
            <a:lvl4pPr marL="799792" indent="0">
              <a:buNone/>
              <a:defRPr sz="2000"/>
            </a:lvl4pPr>
            <a:lvl5pPr marL="1028305" indent="0">
              <a:buNone/>
              <a:defRPr sz="2000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34241975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90326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03" y="2119164"/>
            <a:ext cx="6399984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46468" y="1965644"/>
            <a:ext cx="7898539" cy="214884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 bwMode="gray">
          <a:xfrm>
            <a:off x="0" y="5758901"/>
            <a:ext cx="12434253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2221" y="6209084"/>
            <a:ext cx="1456232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1517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-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05" y="1212851"/>
            <a:ext cx="11885684" cy="2308324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0" indent="0">
              <a:buFontTx/>
              <a:buNone/>
              <a:defRPr lang="en-US" dirty="0" smtClean="0"/>
            </a:lvl2pPr>
            <a:lvl3pPr marL="228513" indent="0">
              <a:buNone/>
              <a:defRPr lang="en-US" dirty="0" smtClean="0"/>
            </a:lvl3pPr>
            <a:lvl4pPr marL="457024" indent="0">
              <a:buNone/>
              <a:defRPr lang="en-US" dirty="0" smtClean="0"/>
            </a:lvl4pPr>
            <a:lvl5pPr marL="685537" indent="0">
              <a:buNone/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19126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3" y="2125662"/>
            <a:ext cx="11885683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9" spc="-100" baseline="0">
                <a:solidFill>
                  <a:srgbClr val="011690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667" y="2125678"/>
            <a:ext cx="9142769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66" y="3955786"/>
            <a:ext cx="7314204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61" y="5915185"/>
            <a:ext cx="2236970" cy="82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8399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4399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94576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4" y="1209974"/>
            <a:ext cx="10055528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04" y="3954463"/>
            <a:ext cx="10057118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3016971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5203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03" y="6294477"/>
            <a:ext cx="11885682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7688250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ith - 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4" y="2740136"/>
            <a:ext cx="4891416" cy="1292662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596" spc="-5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Brad Smith square photo layout</a:t>
            </a:r>
          </a:p>
        </p:txBody>
      </p:sp>
    </p:spTree>
    <p:extLst>
      <p:ext uri="{BB962C8B-B14F-4D97-AF65-F5344CB8AC3E}">
        <p14:creationId xmlns:p14="http://schemas.microsoft.com/office/powerpoint/2010/main" val="1824829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95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07DE85-B70F-4309-8506-6C011BC20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20" y="1866136"/>
            <a:ext cx="7626965" cy="1502727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99"/>
              </a:spcAft>
              <a:defRPr sz="2600" spc="-15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sp>
        <p:nvSpPr>
          <p:cNvPr id="7" name="Text Box 3">
            <a:extLst>
              <a:ext uri="{FF2B5EF4-FFF2-40B4-BE49-F238E27FC236}">
                <a16:creationId xmlns:a16="http://schemas.microsoft.com/office/drawing/2014/main" id="{F3523A4C-09FD-49AC-AA6D-1A6E7B7893EE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37031" y="6444246"/>
            <a:ext cx="4571416" cy="10986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>
                <a:solidFill>
                  <a:srgbClr val="000000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4C8B45-9D01-4389-94BD-CBAF3D8B35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8102" y="445839"/>
            <a:ext cx="914284" cy="194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793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no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88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64792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8005553" y="-14802"/>
            <a:ext cx="4429333" cy="7009329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20323" y="2185191"/>
            <a:ext cx="6628554" cy="4114800"/>
          </a:xfrm>
        </p:spPr>
        <p:txBody>
          <a:bodyPr lIns="274320">
            <a:noAutofit/>
          </a:bodyPr>
          <a:lstStyle>
            <a:lvl1pPr marL="0" indent="0">
              <a:lnSpc>
                <a:spcPct val="100000"/>
              </a:lnSpc>
              <a:spcBef>
                <a:spcPts val="2000"/>
              </a:spcBef>
              <a:buFont typeface="Arial" charset="0"/>
              <a:buNone/>
              <a:defRPr b="0" i="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98" baseline="0"/>
            </a:lvl2pPr>
          </a:lstStyle>
          <a:p>
            <a:pPr lvl="0"/>
            <a:r>
              <a:rPr lang="en-US"/>
              <a:t>Click to edit sub head text styles</a:t>
            </a:r>
          </a:p>
          <a:p>
            <a:pPr lvl="1"/>
            <a:r>
              <a:rPr lang="en-US"/>
              <a:t>Click to edit text styles</a:t>
            </a:r>
          </a:p>
          <a:p>
            <a:pPr lvl="0"/>
            <a:r>
              <a:rPr lang="en-US"/>
              <a:t>Click to edit sub head text styles</a:t>
            </a:r>
          </a:p>
          <a:p>
            <a:pPr lvl="1"/>
            <a:r>
              <a:rPr lang="en-US"/>
              <a:t>Click to edit text styles</a:t>
            </a:r>
          </a:p>
          <a:p>
            <a:pPr lvl="0"/>
            <a:r>
              <a:rPr lang="en-US"/>
              <a:t>Click to edit sub head text styles</a:t>
            </a:r>
          </a:p>
          <a:p>
            <a:pPr lvl="1"/>
            <a:r>
              <a:rPr lang="en-US"/>
              <a:t>Click to edit text styles</a:t>
            </a:r>
          </a:p>
          <a:p>
            <a:pPr lvl="1"/>
            <a:endParaRPr lang="en-US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20323" y="458677"/>
            <a:ext cx="7585230" cy="950976"/>
          </a:xfrm>
        </p:spPr>
        <p:txBody>
          <a:bodyPr lIns="274320" tIns="182880" rIns="45720" bIns="45720"/>
          <a:lstStyle>
            <a:lvl1pPr marL="0" algn="l" defTabSz="913702" rtl="0" eaLnBrk="1" latinLnBrk="0" hangingPunct="1">
              <a:spcBef>
                <a:spcPct val="0"/>
              </a:spcBef>
              <a:buNone/>
              <a:defRPr lang="en-US" sz="3598" b="0" i="0" u="none" kern="1200" spc="-150" baseline="0" dirty="0">
                <a:solidFill>
                  <a:schemeClr val="accent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21922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04" y="300240"/>
            <a:ext cx="11888047" cy="822960"/>
          </a:xfrm>
        </p:spPr>
        <p:txBody>
          <a:bodyPr/>
          <a:lstStyle>
            <a:lvl1pPr marL="0" algn="l" defTabSz="913702" rtl="0" eaLnBrk="1" latinLnBrk="0" hangingPunct="1">
              <a:spcBef>
                <a:spcPct val="0"/>
              </a:spcBef>
              <a:buNone/>
              <a:defRPr lang="en-US" sz="3997" b="0" i="0" u="none" kern="1200" spc="-150" baseline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74604" y="1212852"/>
            <a:ext cx="11885684" cy="1295739"/>
          </a:xfrm>
        </p:spPr>
        <p:txBody>
          <a:bodyPr>
            <a:noAutofit/>
          </a:bodyPr>
          <a:lstStyle>
            <a:lvl1pPr marL="287227" indent="-287227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n-lt"/>
              </a:defRPr>
            </a:lvl1pPr>
            <a:lvl2pPr marL="171384" indent="-171384">
              <a:buFont typeface="Arial" panose="020B0604020202020204" pitchFamily="34" charset="0"/>
              <a:buChar char="•"/>
              <a:defRPr sz="1198">
                <a:latin typeface="+mn-lt"/>
              </a:defRPr>
            </a:lvl2pPr>
            <a:lvl3pPr marL="399897" indent="-171384">
              <a:buFont typeface="Arial" panose="020B0604020202020204" pitchFamily="34" charset="0"/>
              <a:buChar char="•"/>
              <a:defRPr sz="1598">
                <a:latin typeface="+mn-lt"/>
              </a:defRPr>
            </a:lvl3pPr>
            <a:lvl4pPr marL="628409" indent="-171384">
              <a:buFont typeface="Arial" panose="020B0604020202020204" pitchFamily="34" charset="0"/>
              <a:buChar char="•"/>
              <a:defRPr sz="1398">
                <a:latin typeface="+mn-lt"/>
              </a:defRPr>
            </a:lvl4pPr>
            <a:lvl5pPr marL="856920" indent="-171384">
              <a:buFont typeface="Arial" panose="020B0604020202020204" pitchFamily="34" charset="0"/>
              <a:buChar char="•"/>
              <a:defRPr sz="1398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406706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4" y="1241427"/>
            <a:ext cx="5485699" cy="2012859"/>
          </a:xfrm>
        </p:spPr>
        <p:txBody>
          <a:bodyPr>
            <a:spAutoFit/>
          </a:bodyPr>
          <a:lstStyle>
            <a:lvl1pPr>
              <a:defRPr sz="6599" baseline="0">
                <a:solidFill>
                  <a:srgbClr val="011690"/>
                </a:soli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031" y="1"/>
            <a:ext cx="6215857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366974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1FA902-F445-4387-B00C-BF23EB7D89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CEF3B4-293C-4302-A830-94FA3C25A0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047E3-EE21-42A4-AF7F-F1491DE7C5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32563">
              <a:defRPr/>
            </a:pPr>
            <a:fld id="{43F1024E-D68C-4DA9-BD1F-46570011FA3C}" type="datetimeFigureOut">
              <a:rPr lang="en-US" smtClean="0">
                <a:solidFill>
                  <a:srgbClr val="505050"/>
                </a:solidFill>
              </a:rPr>
              <a:pPr defTabSz="932563">
                <a:defRPr/>
              </a:pPr>
              <a:t>7/16/2020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32822D-4897-412B-96B2-AC9F706AA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32563">
              <a:defRPr/>
            </a:pPr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AEA52C-AC41-4A81-A2BA-EB1A45AFA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32563">
              <a:defRPr/>
            </a:pPr>
            <a:fld id="{704C64EA-2E68-42C6-8679-DDF498DD0516}" type="slidenum">
              <a:rPr lang="en-US" smtClean="0">
                <a:solidFill>
                  <a:srgbClr val="505050"/>
                </a:solidFill>
              </a:rPr>
              <a:pPr defTabSz="932563">
                <a:defRPr/>
              </a:pPr>
              <a:t>‹nr.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6536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875" y="3093607"/>
            <a:ext cx="6528316" cy="508524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513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72" b="1" kern="1200" cap="none" spc="-51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96875" y="4056498"/>
            <a:ext cx="6528316" cy="282513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4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B08910-F1C3-47B2-8C69-1B107282064A}"/>
              </a:ext>
            </a:extLst>
          </p:cNvPr>
          <p:cNvGrpSpPr/>
          <p:nvPr userDrawn="1"/>
        </p:nvGrpSpPr>
        <p:grpSpPr bwMode="ltGray">
          <a:xfrm>
            <a:off x="6380751" y="-22273"/>
            <a:ext cx="6050265" cy="7027210"/>
            <a:chOff x="6256117" y="-21839"/>
            <a:chExt cx="5932086" cy="68900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E7A031-B4AB-4071-98FF-24E766F9BB5C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DC7067D-3957-4163-9442-C167A0A6216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AE235F-4F6C-4565-AADC-752626D64B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EAADF52-7CC0-4715-8BAC-4186C7CE9B0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AC140A-9DFB-45B7-82C2-CF25166A0D41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436FDC7-3DF0-4E6A-B4A8-7EB4FF30AAF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72FB5AA-3C69-4BB6-9C10-682E95EF1AAE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0321A7F-C5FC-4514-A3AC-41CC16FA85FD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3C4B3CE-95D2-45A5-917E-A5389B118222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A5270AF0-DA91-4FF8-9B1C-35937E49D88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B4AB4EC-0302-4902-B797-9B84C91FDE1B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941D13F-2DD6-4121-8220-CC08400DD382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98F2381-17CE-4672-96D3-D3E4A8C1115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6A42BAE-DCEA-4A1A-8779-E499D67DA7B9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D7995E7-6761-41BA-BE88-30DD0DF70D22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4D7B6AA-459B-44CF-9930-A05720C41315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EBE7D0E-F0D6-4EA3-A151-C26BF3138977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118A379-1639-4C1C-9E5B-A39F1CD0A9D9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8DE972F-9FF1-4743-BF7F-15CC5403A6C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95596FA-D3B2-4953-81FC-9958337AF5DC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D57090A-B887-4CA7-A022-90564F12A9A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9749B2E-C284-42A2-A061-B635FBBBD461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A74F4CD-889D-4E91-AB27-CCB11E8677AE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CE97AB5-F3D1-4D1A-8F2F-166F6F85A189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5281A29-9018-48AF-8B81-EB9F71FE5ABA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B1B3F07-773E-4FC0-9A04-73F52683190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36053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086601-4C9D-440B-9FA9-C9983932E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4362" y="2638152"/>
            <a:ext cx="9326166" cy="941685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E3FFCDD-A762-499E-AE4E-7E5491ECF0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54362" y="3673747"/>
            <a:ext cx="9326166" cy="523733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77" indent="0" algn="ctr">
              <a:buNone/>
              <a:defRPr sz="2040"/>
            </a:lvl2pPr>
            <a:lvl3pPr marL="932554" indent="0" algn="ctr">
              <a:buNone/>
              <a:defRPr sz="1836"/>
            </a:lvl3pPr>
            <a:lvl4pPr marL="1398830" indent="0" algn="ctr">
              <a:buNone/>
              <a:defRPr sz="1632"/>
            </a:lvl4pPr>
            <a:lvl5pPr marL="1865106" indent="0" algn="ctr">
              <a:buNone/>
              <a:defRPr sz="1632"/>
            </a:lvl5pPr>
            <a:lvl6pPr marL="2331383" indent="0" algn="ctr">
              <a:buNone/>
              <a:defRPr sz="1632"/>
            </a:lvl6pPr>
            <a:lvl7pPr marL="2797660" indent="0" algn="ctr">
              <a:buNone/>
              <a:defRPr sz="1632"/>
            </a:lvl7pPr>
            <a:lvl8pPr marL="3263937" indent="0" algn="ctr">
              <a:buNone/>
              <a:defRPr sz="1632"/>
            </a:lvl8pPr>
            <a:lvl9pPr marL="3730213" indent="0" algn="ctr">
              <a:buNone/>
              <a:defRPr sz="1632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DD8E3B-8F27-46C6-AD7C-5F4CA94410D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1745" y="6504910"/>
            <a:ext cx="2860024" cy="282513"/>
          </a:xfrm>
        </p:spPr>
        <p:txBody>
          <a:bodyPr/>
          <a:lstStyle/>
          <a:p>
            <a:fld id="{F6586E5A-D78E-4250-924E-9CF00D391AB7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5F658-F11B-40A2-8842-2F21B5EA8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27862" y="6504910"/>
            <a:ext cx="3979164" cy="282513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2D5633-800E-4ECB-9D2E-87B3A6ACE4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53120" y="6504910"/>
            <a:ext cx="2860024" cy="282513"/>
          </a:xfrm>
        </p:spPr>
        <p:txBody>
          <a:bodyPr/>
          <a:lstStyle/>
          <a:p>
            <a:fld id="{8DB123EE-2F98-4189-8764-89B3BD27CA9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16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8072" y="1462924"/>
            <a:ext cx="11238030" cy="2092752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33149" indent="0">
              <a:buNone/>
              <a:defRPr/>
            </a:lvl2pPr>
            <a:lvl3pPr marL="466298" indent="0">
              <a:buNone/>
              <a:defRPr/>
            </a:lvl3pPr>
            <a:lvl4pPr marL="699447" indent="0">
              <a:buNone/>
              <a:defRPr/>
            </a:lvl4pPr>
            <a:lvl5pPr marL="93259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64395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5838" y="1464074"/>
            <a:ext cx="11238030" cy="20927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53248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522457-1C7E-4E68-87CC-097C0282EF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4361" y="1144706"/>
            <a:ext cx="932616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55BD42B4-FC94-406B-A69D-94FA594285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54361" y="3673745"/>
            <a:ext cx="9326166" cy="1688724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nl-NL"/>
              <a:t>Klikken om de ondertitelstijl van het model te bewerken</a:t>
            </a:r>
            <a:endParaRPr lang="en-US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CCCFBEF-4653-497A-9D96-205289FE6D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5BAC7-6CDF-4325-808F-C9DF8C12B9C8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82DF05A-FED0-48D4-A522-C5886525FB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B86C754-BC2B-4D6B-A569-35215037C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BD71B-F032-4648-88D5-C7BC70E251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4499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118D1E-7BCE-479C-B5F9-9B9BAE681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F8C767FB-F340-4AC3-A2E8-109D376EEB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C7C76FF6-0074-40AE-A51B-E7FB3A1669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5BAC7-6CDF-4325-808F-C9DF8C12B9C8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1FA3E34-039F-40CF-ABF4-98CC198884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AA39849-3491-4E5F-8733-EDC8BBC255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BD71B-F032-4648-88D5-C7BC70E251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3519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08BA71-0A60-4092-A87D-D4D0B5C1A8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422" y="1743775"/>
            <a:ext cx="10725091" cy="2909528"/>
          </a:xfrm>
        </p:spPr>
        <p:txBody>
          <a:bodyPr anchor="b"/>
          <a:lstStyle>
            <a:lvl1pPr>
              <a:defRPr sz="6119"/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E5D06D70-CB79-463D-B854-587FD6E4B3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8422" y="4680828"/>
            <a:ext cx="10725091" cy="1530052"/>
          </a:xfrm>
        </p:spPr>
        <p:txBody>
          <a:bodyPr/>
          <a:lstStyle>
            <a:lvl1pPr marL="0" indent="0">
              <a:buNone/>
              <a:defRPr sz="2448">
                <a:solidFill>
                  <a:schemeClr val="tx1">
                    <a:tint val="75000"/>
                  </a:schemeClr>
                </a:solidFill>
              </a:defRPr>
            </a:lvl1pPr>
            <a:lvl2pPr marL="466298" indent="0">
              <a:buNone/>
              <a:defRPr sz="2040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A089F6B-A9DA-46D1-8DF1-B9C47C1D7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5BAC7-6CDF-4325-808F-C9DF8C12B9C8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E6CB1F-CC73-4AC2-B056-9E8472A21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25735FF-7B6D-484B-8ADD-D24E30413E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BD71B-F032-4648-88D5-C7BC70E251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3038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4B262C-2072-4910-B0C2-18213BA6F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1CC26FA-A983-4903-8679-72C9EA624D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54899" y="1861968"/>
            <a:ext cx="5284827" cy="4437962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73F9978-F372-46A6-A701-5FA765A6FE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5162" y="1861968"/>
            <a:ext cx="5284827" cy="4437962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92ACE5AD-F3E5-495E-8555-4C08B65A85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5BAC7-6CDF-4325-808F-C9DF8C12B9C8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F26BF220-6A92-495D-9285-055CED1B7D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D1E59CAA-7555-4923-9A58-C430205FE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BD71B-F032-4648-88D5-C7BC70E251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8388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ED2B97-FE7B-4388-B468-0B1EA6CC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518" y="372394"/>
            <a:ext cx="10725091" cy="1351952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C921C260-20A1-47B1-BBFB-C752F5F37E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6519" y="1714631"/>
            <a:ext cx="5260540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D7B3CBB2-53ED-4E99-AC25-5327593B0A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56519" y="2554944"/>
            <a:ext cx="5260540" cy="3757939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49567BA1-71A1-4FBB-BA64-E23624E9908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95162" y="1714631"/>
            <a:ext cx="5286447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35107247-0F03-48B5-B8A3-FCB802704B5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95162" y="2554944"/>
            <a:ext cx="5286447" cy="3757939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1D51D053-2BD8-4750-8909-0B76EE881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5BAC7-6CDF-4325-808F-C9DF8C12B9C8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FA710253-3430-45C7-A6E1-314B25FEB2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B9DEF98A-5E82-4D62-B437-B0AB3B9D4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BD71B-F032-4648-88D5-C7BC70E251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7473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4888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3" tIns="46633" rIns="46633" bIns="466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379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03" y="1221158"/>
            <a:ext cx="11885682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1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54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8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8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4293ED-786D-40C9-8040-CC7DC6D201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BA2959DB-5807-4A75-A03B-38BFD8B3F9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5BAC7-6CDF-4325-808F-C9DF8C12B9C8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00357C4D-B941-46D5-9BF1-A2F862BCF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65146ED5-2BFB-4324-BAEF-8359840BDC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BD71B-F032-4648-88D5-C7BC70E251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72875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F28024F2-2DF3-4199-867E-8555FA7C20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5BAC7-6CDF-4325-808F-C9DF8C12B9C8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6569727C-7AE7-4E22-8753-B08634812E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4ED500EB-83D9-46C3-BF4F-0529A68B0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BD71B-F032-4648-88D5-C7BC70E251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7493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085D20-ACFE-4352-9B36-4577C2D8AF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519" y="466302"/>
            <a:ext cx="4010575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B59E516-BBCD-4522-A02C-3C7DECC1F6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6447" y="1007083"/>
            <a:ext cx="6295162" cy="4970646"/>
          </a:xfrm>
        </p:spPr>
        <p:txBody>
          <a:bodyPr/>
          <a:lstStyle>
            <a:lvl1pPr>
              <a:defRPr sz="3264"/>
            </a:lvl1pPr>
            <a:lvl2pPr>
              <a:defRPr sz="2856"/>
            </a:lvl2pPr>
            <a:lvl3pPr>
              <a:defRPr sz="2448"/>
            </a:lvl3pPr>
            <a:lvl4pPr>
              <a:defRPr sz="2040"/>
            </a:lvl4pPr>
            <a:lvl5pPr>
              <a:defRPr sz="2040"/>
            </a:lvl5pPr>
            <a:lvl6pPr>
              <a:defRPr sz="2040"/>
            </a:lvl6pPr>
            <a:lvl7pPr>
              <a:defRPr sz="2040"/>
            </a:lvl7pPr>
            <a:lvl8pPr>
              <a:defRPr sz="2040"/>
            </a:lvl8pPr>
            <a:lvl9pPr>
              <a:defRPr sz="204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83B6041C-2FB5-4768-A405-CCB8E11D9D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6519" y="2098357"/>
            <a:ext cx="4010575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1704A1CF-96DE-4BC4-9834-62C6A9EC60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5BAC7-6CDF-4325-808F-C9DF8C12B9C8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4414E5E5-5032-49FF-B150-098821307B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9643EC7C-DB56-4CDF-A11F-D9B6A8EA6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BD71B-F032-4648-88D5-C7BC70E251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7763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FC900-DA0F-4F23-81C1-8CBE6D119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519" y="466302"/>
            <a:ext cx="4010575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DB26924C-485F-46A9-BDFE-7CE5240F55F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286447" y="1007083"/>
            <a:ext cx="6295162" cy="4970646"/>
          </a:xfrm>
        </p:spPr>
        <p:txBody>
          <a:bodyPr/>
          <a:lstStyle>
            <a:lvl1pPr marL="0" indent="0">
              <a:buNone/>
              <a:defRPr sz="3264"/>
            </a:lvl1pPr>
            <a:lvl2pPr marL="466298" indent="0">
              <a:buNone/>
              <a:defRPr sz="2856"/>
            </a:lvl2pPr>
            <a:lvl3pPr marL="932597" indent="0">
              <a:buNone/>
              <a:defRPr sz="2448"/>
            </a:lvl3pPr>
            <a:lvl4pPr marL="1398895" indent="0">
              <a:buNone/>
              <a:defRPr sz="2040"/>
            </a:lvl4pPr>
            <a:lvl5pPr marL="1865193" indent="0">
              <a:buNone/>
              <a:defRPr sz="2040"/>
            </a:lvl5pPr>
            <a:lvl6pPr marL="2331491" indent="0">
              <a:buNone/>
              <a:defRPr sz="2040"/>
            </a:lvl6pPr>
            <a:lvl7pPr marL="2797790" indent="0">
              <a:buNone/>
              <a:defRPr sz="2040"/>
            </a:lvl7pPr>
            <a:lvl8pPr marL="3264088" indent="0">
              <a:buNone/>
              <a:defRPr sz="2040"/>
            </a:lvl8pPr>
            <a:lvl9pPr marL="3730386" indent="0">
              <a:buNone/>
              <a:defRPr sz="2040"/>
            </a:lvl9pPr>
          </a:lstStyle>
          <a:p>
            <a:endParaRPr lang="en-US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63596BED-2BF7-4AC8-B5BC-0ACF8D7E0D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6519" y="2098357"/>
            <a:ext cx="4010575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CC7E7435-EF97-41FD-864B-98C0EEF2CF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5BAC7-6CDF-4325-808F-C9DF8C12B9C8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469BE300-C6C2-4D13-8E63-14045E2A33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B3BC4BB-ABE2-4B05-BFD5-F8DBAC245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BD71B-F032-4648-88D5-C7BC70E251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3029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8FCC7A-A4AF-4591-AA68-E505FB80E1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29261BC0-69DC-49B1-A8E2-481FD215AE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82ACE0D-89F0-4FC4-87B6-AA4391BCC2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5BAC7-6CDF-4325-808F-C9DF8C12B9C8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6CF719A3-850D-42BD-BEB5-5039CB0811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57835B2-5685-4939-ACAE-7ADD3D991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BD71B-F032-4648-88D5-C7BC70E251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5999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37B48F8F-6AC5-4DA6-B5E1-0E0DD4D14D4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898717" y="372394"/>
            <a:ext cx="2681273" cy="5927537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C7DFBF53-D034-4211-8C3C-016E7F639A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54899" y="372394"/>
            <a:ext cx="7888382" cy="5927537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D63C132-297C-4A79-84F5-86ED33B7E7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5BAC7-6CDF-4325-808F-C9DF8C12B9C8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63E812B8-4950-41B6-9670-2EE67476CC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3FF54A0-5D70-4A2C-BF5B-839114210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BD71B-F032-4648-88D5-C7BC70E251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5526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7A984A1-F78C-4297-8324-10D12BC7E8C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2400" t="4718" r="3150" b="22029"/>
          <a:stretch/>
        </p:blipFill>
        <p:spPr>
          <a:xfrm>
            <a:off x="5725559" y="1"/>
            <a:ext cx="6709331" cy="699551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8101" y="3090314"/>
            <a:ext cx="9588857" cy="1828800"/>
          </a:xfrm>
          <a:noFill/>
        </p:spPr>
        <p:txBody>
          <a:bodyPr lIns="0" tIns="0" rIns="0" bIns="182880" anchor="b" anchorCtr="0"/>
          <a:lstStyle>
            <a:lvl1pPr>
              <a:defRPr sz="5399" strike="noStrike" spc="-15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Microsoft 365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4921" y="4935118"/>
            <a:ext cx="9588857" cy="964256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99" spc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F4A718E-6F7C-414B-B5B4-AA6809C768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8102" y="445839"/>
            <a:ext cx="914284" cy="194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695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9EEE8B25-205B-439D-AFD8-52602631ED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22" b="623"/>
          <a:stretch/>
        </p:blipFill>
        <p:spPr>
          <a:xfrm>
            <a:off x="0" y="2"/>
            <a:ext cx="12434888" cy="699452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BAFE27E-A3D5-46FD-85F3-6A54774F3CBF}"/>
              </a:ext>
            </a:extLst>
          </p:cNvPr>
          <p:cNvSpPr/>
          <p:nvPr/>
        </p:nvSpPr>
        <p:spPr bwMode="auto">
          <a:xfrm>
            <a:off x="1" y="1080918"/>
            <a:ext cx="12434889" cy="5913607"/>
          </a:xfrm>
          <a:prstGeom prst="rect">
            <a:avLst/>
          </a:prstGeom>
          <a:gradFill>
            <a:gsLst>
              <a:gs pos="0">
                <a:schemeClr val="accent1">
                  <a:lumMod val="0"/>
                  <a:alpha val="0"/>
                </a:schemeClr>
              </a:gs>
              <a:gs pos="56000">
                <a:schemeClr val="accent1">
                  <a:lumMod val="0"/>
                  <a:alpha val="38000"/>
                </a:schemeClr>
              </a:gs>
              <a:gs pos="85000">
                <a:schemeClr val="accent1">
                  <a:lumMod val="0"/>
                  <a:alpha val="90000"/>
                </a:schemeClr>
              </a:gs>
            </a:gsLst>
            <a:lin ang="540000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918950D-BA52-4C37-9FC7-9B2441DAB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8101" y="3090314"/>
            <a:ext cx="9588857" cy="1828800"/>
          </a:xfrm>
          <a:noFill/>
        </p:spPr>
        <p:txBody>
          <a:bodyPr lIns="0" tIns="0" rIns="0" bIns="182880" anchor="b" anchorCtr="0"/>
          <a:lstStyle>
            <a:lvl1pPr>
              <a:defRPr sz="5399" strike="noStrike" spc="-15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Microsoft 365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B7969DA-51E9-4FB3-BFCC-63C88E8086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921" y="4935118"/>
            <a:ext cx="9588857" cy="964256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99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741F6A-873D-4F2A-A003-75593FAFDE0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7221" y="445842"/>
            <a:ext cx="914284" cy="19494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2DF50B3-9B0F-4C00-9367-B4049D81A43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319" t="4718" r="3150" b="22029"/>
          <a:stretch/>
        </p:blipFill>
        <p:spPr>
          <a:xfrm>
            <a:off x="1788726" y="1"/>
            <a:ext cx="10646163" cy="6995518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EB1E1288-0D3A-4A23-84C3-04C87E5B794E}"/>
              </a:ext>
            </a:extLst>
          </p:cNvPr>
          <p:cNvSpPr/>
          <p:nvPr/>
        </p:nvSpPr>
        <p:spPr bwMode="auto">
          <a:xfrm>
            <a:off x="8267597" y="4985623"/>
            <a:ext cx="293782" cy="293820"/>
          </a:xfrm>
          <a:prstGeom prst="ellips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63958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20" y="1226818"/>
            <a:ext cx="3704752" cy="1195895"/>
          </a:xfrm>
        </p:spPr>
        <p:txBody>
          <a:bodyPr lIns="0" tIns="0" rIns="0" bIns="0"/>
          <a:lstStyle>
            <a:lvl1pPr>
              <a:defRPr sz="2000" spc="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336491" y="1226818"/>
            <a:ext cx="3690467" cy="3354708"/>
          </a:xfrm>
        </p:spPr>
        <p:txBody>
          <a:bodyPr wrap="square" lIns="0" tIns="0" rIns="0" bIns="0">
            <a:noAutofit/>
          </a:bodyPr>
          <a:lstStyle>
            <a:lvl1pPr marL="0" marR="0" indent="0" algn="l" defTabSz="5174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spc="0" baseline="0">
                <a:solidFill>
                  <a:schemeClr val="accent1"/>
                </a:solidFill>
                <a:latin typeface="+mj-lt"/>
              </a:defRPr>
            </a:lvl1pPr>
            <a:lvl2pPr marL="228557" indent="0">
              <a:buNone/>
              <a:defRPr sz="1800"/>
            </a:lvl2pPr>
            <a:lvl3pPr marL="457112" indent="0">
              <a:buNone/>
              <a:defRPr sz="1800"/>
            </a:lvl3pPr>
            <a:lvl4pPr marL="685669" indent="0">
              <a:buNone/>
              <a:defRPr sz="1800"/>
            </a:lvl4pPr>
            <a:lvl5pPr marL="914224" indent="0">
              <a:buNone/>
              <a:defRPr sz="1800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628152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6030" y="2182299"/>
            <a:ext cx="11565684" cy="12475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99"/>
              </a:spcAft>
              <a:buNone/>
              <a:defRPr sz="2600" b="0" i="0">
                <a:solidFill>
                  <a:srgbClr val="000000"/>
                </a:solidFill>
                <a:latin typeface="+mn-lt"/>
              </a:defRPr>
            </a:lvl1pPr>
            <a:lvl2pPr marL="228557" indent="0">
              <a:lnSpc>
                <a:spcPct val="90000"/>
              </a:lnSpc>
              <a:spcBef>
                <a:spcPts val="0"/>
              </a:spcBef>
              <a:spcAft>
                <a:spcPts val="1299"/>
              </a:spcAft>
              <a:buNone/>
              <a:defRPr sz="2000">
                <a:solidFill>
                  <a:srgbClr val="000000"/>
                </a:solidFill>
              </a:defRPr>
            </a:lvl2pPr>
            <a:lvl3pPr marL="457112" indent="0">
              <a:spcBef>
                <a:spcPts val="0"/>
              </a:spcBef>
              <a:spcAft>
                <a:spcPts val="1299"/>
              </a:spcAft>
              <a:buNone/>
              <a:defRPr sz="2000">
                <a:solidFill>
                  <a:srgbClr val="000000"/>
                </a:solidFill>
              </a:defRPr>
            </a:lvl3pPr>
            <a:lvl4pPr marL="685669" indent="0">
              <a:spcBef>
                <a:spcPts val="0"/>
              </a:spcBef>
              <a:spcAft>
                <a:spcPts val="1299"/>
              </a:spcAft>
              <a:buNone/>
              <a:defRPr sz="2000"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First level Segoe UI 26pt</a:t>
            </a:r>
          </a:p>
          <a:p>
            <a:pPr lvl="1"/>
            <a:r>
              <a:rPr lang="en-US"/>
              <a:t>Second level Segoe UI 20pt</a:t>
            </a:r>
          </a:p>
          <a:p>
            <a:pPr lvl="2"/>
            <a:r>
              <a:rPr lang="en-US"/>
              <a:t>Third level Segoe UI 20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20" y="449265"/>
            <a:ext cx="11561875" cy="754061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</p:spTree>
    <p:extLst>
      <p:ext uri="{BB962C8B-B14F-4D97-AF65-F5344CB8AC3E}">
        <p14:creationId xmlns:p14="http://schemas.microsoft.com/office/powerpoint/2010/main" val="35373760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03" y="6294477"/>
            <a:ext cx="11885682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7" tIns="146285" rIns="182857" bIns="146285" numCol="1" anchor="t" anchorCtr="0" compatLnSpc="1">
            <a:prstTxWarp prst="textNoShape">
              <a:avLst/>
            </a:prstTxWarp>
            <a:spAutoFit/>
          </a:bodyPr>
          <a:lstStyle/>
          <a:p>
            <a:pPr defTabSz="932197" eaLnBrk="0" hangingPunct="0"/>
            <a:r>
              <a:rPr lang="en-US" sz="700">
                <a:solidFill>
                  <a:srgbClr val="000000"/>
                </a:soli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Afbeelding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19020" y="6225824"/>
            <a:ext cx="1358727" cy="29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body slide (with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6031" y="2184024"/>
            <a:ext cx="11565684" cy="1247521"/>
          </a:xfrm>
        </p:spPr>
        <p:txBody>
          <a:bodyPr wrap="square" lIns="0" tIns="0" rIns="0" bIns="0">
            <a:spAutoFit/>
          </a:bodyPr>
          <a:lstStyle>
            <a:lvl1pPr marL="274267" indent="-274267">
              <a:lnSpc>
                <a:spcPct val="90000"/>
              </a:lnSpc>
              <a:spcBef>
                <a:spcPts val="0"/>
              </a:spcBef>
              <a:spcAft>
                <a:spcPts val="1299"/>
              </a:spcAft>
              <a:buClr>
                <a:srgbClr val="000000"/>
              </a:buClr>
              <a:buSzPct val="77000"/>
              <a:buFont typeface="Arial" panose="020B0604020202020204" pitchFamily="34" charset="0"/>
              <a:buChar char="•"/>
              <a:defRPr sz="2600" b="0" i="0">
                <a:solidFill>
                  <a:srgbClr val="000000"/>
                </a:solidFill>
                <a:latin typeface="+mn-lt"/>
              </a:defRPr>
            </a:lvl1pPr>
            <a:lvl2pPr marL="548535" indent="-228557">
              <a:lnSpc>
                <a:spcPct val="90000"/>
              </a:lnSpc>
              <a:spcBef>
                <a:spcPts val="0"/>
              </a:spcBef>
              <a:spcAft>
                <a:spcPts val="1299"/>
              </a:spcAft>
              <a:buClr>
                <a:srgbClr val="000000"/>
              </a:buClr>
              <a:buSzPct val="77000"/>
              <a:buFont typeface="Arial" panose="020B0604020202020204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 marL="822802" indent="-228557">
              <a:spcBef>
                <a:spcPts val="0"/>
              </a:spcBef>
              <a:spcAft>
                <a:spcPts val="1299"/>
              </a:spcAft>
              <a:buClr>
                <a:srgbClr val="000000"/>
              </a:buClr>
              <a:buSzPct val="77000"/>
              <a:buFont typeface="Arial" panose="020B0604020202020204" pitchFamily="34" charset="0"/>
              <a:buChar char="•"/>
              <a:defRPr sz="2000">
                <a:solidFill>
                  <a:srgbClr val="000000"/>
                </a:solidFill>
              </a:defRPr>
            </a:lvl3pPr>
            <a:lvl4pPr marL="685669" indent="0">
              <a:spcBef>
                <a:spcPts val="0"/>
              </a:spcBef>
              <a:spcAft>
                <a:spcPts val="1299"/>
              </a:spcAft>
              <a:buNone/>
              <a:defRPr sz="2000"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First level Segoe UI 26pt</a:t>
            </a:r>
          </a:p>
          <a:p>
            <a:pPr lvl="1"/>
            <a:r>
              <a:rPr lang="en-US"/>
              <a:t>Second level Segoe UI 20pt</a:t>
            </a:r>
          </a:p>
          <a:p>
            <a:pPr lvl="2"/>
            <a:r>
              <a:rPr lang="en-US"/>
              <a:t>Third level Segoe UI 20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20" y="449264"/>
            <a:ext cx="11561875" cy="77311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F94EA65-2CBF-4A04-9D22-169D8572F3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918" y="1105407"/>
            <a:ext cx="11565684" cy="3600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99"/>
              </a:spcAft>
              <a:buNone/>
              <a:defRPr sz="2600" b="0" i="0">
                <a:solidFill>
                  <a:srgbClr val="000000"/>
                </a:solidFill>
                <a:latin typeface="+mn-lt"/>
              </a:defRPr>
            </a:lvl1pPr>
            <a:lvl2pPr marL="228557" indent="0">
              <a:lnSpc>
                <a:spcPct val="90000"/>
              </a:lnSpc>
              <a:spcBef>
                <a:spcPts val="0"/>
              </a:spcBef>
              <a:spcAft>
                <a:spcPts val="1299"/>
              </a:spcAft>
              <a:buNone/>
              <a:defRPr sz="2000">
                <a:solidFill>
                  <a:schemeClr val="tx2"/>
                </a:solidFill>
              </a:defRPr>
            </a:lvl2pPr>
            <a:lvl3pPr marL="457112" indent="0">
              <a:spcBef>
                <a:spcPts val="0"/>
              </a:spcBef>
              <a:spcAft>
                <a:spcPts val="1299"/>
              </a:spcAft>
              <a:buNone/>
              <a:defRPr sz="2000"/>
            </a:lvl3pPr>
            <a:lvl4pPr marL="685669" indent="0">
              <a:spcBef>
                <a:spcPts val="0"/>
              </a:spcBef>
              <a:spcAft>
                <a:spcPts val="1299"/>
              </a:spcAft>
              <a:buNone/>
              <a:defRPr sz="2000"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Subtitle Segoe UI 26pt</a:t>
            </a:r>
          </a:p>
        </p:txBody>
      </p:sp>
    </p:spTree>
    <p:extLst>
      <p:ext uri="{BB962C8B-B14F-4D97-AF65-F5344CB8AC3E}">
        <p14:creationId xmlns:p14="http://schemas.microsoft.com/office/powerpoint/2010/main" val="35646827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20" y="449264"/>
            <a:ext cx="11561875" cy="77311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294586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4C19841-48F1-4CF0-B9BA-8A8187B288E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3316" y="0"/>
            <a:ext cx="6101572" cy="699452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20" y="449264"/>
            <a:ext cx="5666651" cy="77311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1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4920" y="2188560"/>
            <a:ext cx="5666650" cy="2624741"/>
          </a:xfrm>
        </p:spPr>
        <p:txBody>
          <a:bodyPr wrap="square" lIns="0" tIns="0" rIns="0" bIns="0">
            <a:noAutofit/>
          </a:bodyPr>
          <a:lstStyle>
            <a:lvl1pPr marL="0" marR="0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600" b="0" i="0">
                <a:solidFill>
                  <a:srgbClr val="000000"/>
                </a:solidFill>
                <a:latin typeface="+mn-lt"/>
              </a:defRPr>
            </a:lvl1pPr>
            <a:lvl2pPr marL="228557" marR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685B54C-AE4B-4DE2-8334-29BCC1146A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357" t="4718" r="3150" b="80485"/>
          <a:stretch/>
        </p:blipFill>
        <p:spPr>
          <a:xfrm rot="10800000">
            <a:off x="5578" y="5609529"/>
            <a:ext cx="2003164" cy="1384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0755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A11E156-1095-41ED-99F9-C199F218300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58694" y="-3462"/>
            <a:ext cx="5970617" cy="6997988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20" y="449264"/>
            <a:ext cx="5666651" cy="77311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1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4920" y="2188560"/>
            <a:ext cx="5666650" cy="2624741"/>
          </a:xfrm>
        </p:spPr>
        <p:txBody>
          <a:bodyPr wrap="square" lIns="0" tIns="0" rIns="0" bIns="0">
            <a:noAutofit/>
          </a:bodyPr>
          <a:lstStyle>
            <a:lvl1pPr marL="0" marR="0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600" b="0" i="0">
                <a:solidFill>
                  <a:srgbClr val="000000"/>
                </a:solidFill>
                <a:latin typeface="+mn-lt"/>
              </a:defRPr>
            </a:lvl1pPr>
            <a:lvl2pPr marL="228557" marR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685B54C-AE4B-4DE2-8334-29BCC1146A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357" t="4718" r="3150" b="80485"/>
          <a:stretch/>
        </p:blipFill>
        <p:spPr>
          <a:xfrm rot="10800000">
            <a:off x="5578" y="5609529"/>
            <a:ext cx="2003164" cy="1384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1903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1B022A6E-47CB-4371-8E8B-E2117173C49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7738" y="0"/>
            <a:ext cx="6389820" cy="699452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20" y="449264"/>
            <a:ext cx="5666651" cy="77311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1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4920" y="2188560"/>
            <a:ext cx="5666650" cy="2624741"/>
          </a:xfrm>
        </p:spPr>
        <p:txBody>
          <a:bodyPr wrap="square" lIns="0" tIns="0" rIns="0" bIns="0">
            <a:noAutofit/>
          </a:bodyPr>
          <a:lstStyle>
            <a:lvl1pPr marL="0" marR="0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600" b="0" i="0">
                <a:solidFill>
                  <a:srgbClr val="000000"/>
                </a:solidFill>
                <a:latin typeface="+mn-lt"/>
              </a:defRPr>
            </a:lvl1pPr>
            <a:lvl2pPr marL="228557" marR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685B54C-AE4B-4DE2-8334-29BCC1146A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357" t="4718" r="3150" b="80485"/>
          <a:stretch/>
        </p:blipFill>
        <p:spPr>
          <a:xfrm rot="10800000">
            <a:off x="5578" y="5609529"/>
            <a:ext cx="2003164" cy="1384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3231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at a table looking at a computer&#10;&#10;Description automatically generated">
            <a:extLst>
              <a:ext uri="{FF2B5EF4-FFF2-40B4-BE49-F238E27FC236}">
                <a16:creationId xmlns:a16="http://schemas.microsoft.com/office/drawing/2014/main" id="{B5B0547B-7B7B-4C0E-9200-F5FE9FF626B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3316" y="-2"/>
            <a:ext cx="6610409" cy="699452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20" y="449264"/>
            <a:ext cx="5666651" cy="77311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1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4920" y="2188560"/>
            <a:ext cx="5666650" cy="2624741"/>
          </a:xfrm>
        </p:spPr>
        <p:txBody>
          <a:bodyPr wrap="square" lIns="0" tIns="0" rIns="0" bIns="0">
            <a:noAutofit/>
          </a:bodyPr>
          <a:lstStyle>
            <a:lvl1pPr marL="0" marR="0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600" b="0" i="0">
                <a:solidFill>
                  <a:srgbClr val="000000"/>
                </a:solidFill>
                <a:latin typeface="+mn-lt"/>
              </a:defRPr>
            </a:lvl1pPr>
            <a:lvl2pPr marL="228557" marR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685B54C-AE4B-4DE2-8334-29BCC1146A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357" t="4718" r="3150" b="80485"/>
          <a:stretch/>
        </p:blipFill>
        <p:spPr>
          <a:xfrm rot="10800000">
            <a:off x="5578" y="5609529"/>
            <a:ext cx="2003164" cy="1384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3784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2304" y="449264"/>
            <a:ext cx="5494491" cy="77311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2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2303" y="2188560"/>
            <a:ext cx="5494490" cy="2624741"/>
          </a:xfrm>
        </p:spPr>
        <p:txBody>
          <a:bodyPr wrap="square" lIns="0" tIns="0" rIns="0" bIns="0">
            <a:noAutofit/>
          </a:bodyPr>
          <a:lstStyle>
            <a:lvl1pPr marL="0" marR="0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600" b="0" i="0">
                <a:solidFill>
                  <a:srgbClr val="000000"/>
                </a:solidFill>
                <a:latin typeface="+mn-lt"/>
              </a:defRPr>
            </a:lvl1pPr>
            <a:lvl2pPr marL="228557" marR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2F407A-FE4B-4CBA-AFAE-D8CB8B1B9C5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357" t="4718" r="3150" b="80485"/>
          <a:stretch/>
        </p:blipFill>
        <p:spPr>
          <a:xfrm flipV="1">
            <a:off x="10431723" y="5609529"/>
            <a:ext cx="2003164" cy="1384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9537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DC9523C-3907-4939-8694-9C0D7F4E828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6216326" cy="699452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2304" y="449264"/>
            <a:ext cx="5435465" cy="77311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2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2304" y="2188560"/>
            <a:ext cx="5435464" cy="2624741"/>
          </a:xfrm>
        </p:spPr>
        <p:txBody>
          <a:bodyPr wrap="square" lIns="0" tIns="0" rIns="0" bIns="0">
            <a:noAutofit/>
          </a:bodyPr>
          <a:lstStyle>
            <a:lvl1pPr marL="0" marR="0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600" b="0" i="0">
                <a:solidFill>
                  <a:srgbClr val="000000"/>
                </a:solidFill>
                <a:latin typeface="+mn-lt"/>
              </a:defRPr>
            </a:lvl1pPr>
            <a:lvl2pPr marL="228557" marR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2F407A-FE4B-4CBA-AFAE-D8CB8B1B9C5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357" t="4718" r="3150" b="80485"/>
          <a:stretch/>
        </p:blipFill>
        <p:spPr>
          <a:xfrm flipV="1">
            <a:off x="10431723" y="5609529"/>
            <a:ext cx="2003164" cy="1384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8581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17464ADA-BCE6-475E-89A8-63AD5A9EB7C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17444" cy="699452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2304" y="449264"/>
            <a:ext cx="5482688" cy="77311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2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2303" y="2188560"/>
            <a:ext cx="5482687" cy="2624741"/>
          </a:xfrm>
        </p:spPr>
        <p:txBody>
          <a:bodyPr wrap="square" lIns="0" tIns="0" rIns="0" bIns="0">
            <a:noAutofit/>
          </a:bodyPr>
          <a:lstStyle>
            <a:lvl1pPr marL="0" marR="0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600" b="0" i="0">
                <a:solidFill>
                  <a:srgbClr val="000000"/>
                </a:solidFill>
                <a:latin typeface="+mn-lt"/>
              </a:defRPr>
            </a:lvl1pPr>
            <a:lvl2pPr marL="228557" marR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2F407A-FE4B-4CBA-AFAE-D8CB8B1B9C5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357" t="4718" r="3150" b="80485"/>
          <a:stretch/>
        </p:blipFill>
        <p:spPr>
          <a:xfrm flipV="1">
            <a:off x="10431723" y="5609529"/>
            <a:ext cx="2003164" cy="1384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9053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sitting around a living room&#10;&#10;Description automatically generated">
            <a:extLst>
              <a:ext uri="{FF2B5EF4-FFF2-40B4-BE49-F238E27FC236}">
                <a16:creationId xmlns:a16="http://schemas.microsoft.com/office/drawing/2014/main" id="{1A4596D9-A4C7-4880-AE58-A65AB45AE04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17444" cy="699452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2304" y="449264"/>
            <a:ext cx="5447270" cy="77311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2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2303" y="2184892"/>
            <a:ext cx="5447269" cy="2624741"/>
          </a:xfrm>
        </p:spPr>
        <p:txBody>
          <a:bodyPr wrap="square" lIns="0" tIns="0" rIns="0" bIns="0">
            <a:noAutofit/>
          </a:bodyPr>
          <a:lstStyle>
            <a:lvl1pPr marL="0" marR="0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600" b="0" i="0">
                <a:solidFill>
                  <a:srgbClr val="000000"/>
                </a:solidFill>
                <a:latin typeface="+mn-lt"/>
              </a:defRPr>
            </a:lvl1pPr>
            <a:lvl2pPr marL="228557" marR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2F407A-FE4B-4CBA-AFAE-D8CB8B1B9C5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357" t="4718" r="3150" b="80485"/>
          <a:stretch/>
        </p:blipFill>
        <p:spPr>
          <a:xfrm flipV="1">
            <a:off x="10431723" y="5609529"/>
            <a:ext cx="2003164" cy="1384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5870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03" y="1212850"/>
            <a:ext cx="11885683" cy="2443746"/>
          </a:xfrm>
          <a:prstGeom prst="rect">
            <a:avLst/>
          </a:prstGeom>
        </p:spPr>
        <p:txBody>
          <a:bodyPr/>
          <a:lstStyle>
            <a:lvl1pPr marL="290484" indent="-290484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443" indent="-280960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927" indent="-290484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504" indent="-22857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081" indent="-22857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4889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itting at a table with a computer&#10;&#10;Description automatically generated">
            <a:extLst>
              <a:ext uri="{FF2B5EF4-FFF2-40B4-BE49-F238E27FC236}">
                <a16:creationId xmlns:a16="http://schemas.microsoft.com/office/drawing/2014/main" id="{9D7045A7-B66B-4D7B-BB90-679A7FC35D2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1448" y="-1"/>
            <a:ext cx="6388892" cy="699452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2304" y="449264"/>
            <a:ext cx="5435465" cy="77311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2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2304" y="2188560"/>
            <a:ext cx="5435464" cy="2624741"/>
          </a:xfrm>
        </p:spPr>
        <p:txBody>
          <a:bodyPr wrap="square" lIns="0" tIns="0" rIns="0" bIns="0">
            <a:noAutofit/>
          </a:bodyPr>
          <a:lstStyle>
            <a:lvl1pPr marL="0" marR="0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600" b="0" i="0">
                <a:solidFill>
                  <a:srgbClr val="000000"/>
                </a:solidFill>
                <a:latin typeface="+mn-lt"/>
              </a:defRPr>
            </a:lvl1pPr>
            <a:lvl2pPr marL="228557" marR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2F407A-FE4B-4CBA-AFAE-D8CB8B1B9C5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357" t="4718" r="3150" b="80485"/>
          <a:stretch/>
        </p:blipFill>
        <p:spPr>
          <a:xfrm flipV="1">
            <a:off x="10431723" y="5609529"/>
            <a:ext cx="2003164" cy="1384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5982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34919" y="2178051"/>
            <a:ext cx="3704752" cy="263525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366657" y="2178051"/>
            <a:ext cx="3695228" cy="2635250"/>
          </a:xfrm>
          <a:blipFill>
            <a:blip r:embed="rId3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8288868" y="2178049"/>
            <a:ext cx="3706398" cy="2635251"/>
          </a:xfr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34920" y="5026024"/>
            <a:ext cx="3702848" cy="133369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599" b="1">
                <a:solidFill>
                  <a:schemeClr val="accent1"/>
                </a:solidFill>
                <a:latin typeface="+mj-lt"/>
              </a:defRPr>
            </a:lvl1pPr>
            <a:lvl2pPr marL="0" marR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99">
                <a:solidFill>
                  <a:srgbClr val="000000"/>
                </a:solidFill>
              </a:defRPr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66654" y="5026024"/>
            <a:ext cx="3695228" cy="133369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599">
                <a:solidFill>
                  <a:schemeClr val="accent1"/>
                </a:solidFill>
                <a:latin typeface="+mj-lt"/>
              </a:defRPr>
            </a:lvl1pPr>
            <a:lvl2pPr marL="0" marR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99">
                <a:solidFill>
                  <a:srgbClr val="000000"/>
                </a:solidFill>
              </a:defRPr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288868" y="5026024"/>
            <a:ext cx="3702848" cy="133369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599">
                <a:solidFill>
                  <a:schemeClr val="accent1"/>
                </a:solidFill>
                <a:latin typeface="+mj-lt"/>
              </a:defRPr>
            </a:lvl1pPr>
            <a:lvl2pPr marL="0" marR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99">
                <a:solidFill>
                  <a:srgbClr val="000000"/>
                </a:solidFill>
              </a:defRPr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20" y="449265"/>
            <a:ext cx="11561875" cy="754061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 2</a:t>
            </a:r>
          </a:p>
        </p:txBody>
      </p:sp>
    </p:spTree>
    <p:extLst>
      <p:ext uri="{BB962C8B-B14F-4D97-AF65-F5344CB8AC3E}">
        <p14:creationId xmlns:p14="http://schemas.microsoft.com/office/powerpoint/2010/main" val="6060407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line Image Placeholder 2">
            <a:extLst>
              <a:ext uri="{FF2B5EF4-FFF2-40B4-BE49-F238E27FC236}">
                <a16:creationId xmlns:a16="http://schemas.microsoft.com/office/drawing/2014/main" id="{562D5679-B66F-A244-9E94-0FFE5F1B6168}"/>
              </a:ext>
            </a:extLst>
          </p:cNvPr>
          <p:cNvSpPr>
            <a:spLocks noGrp="1"/>
          </p:cNvSpPr>
          <p:nvPr>
            <p:ph type="clipArt" sz="quarter" idx="11" hasCustomPrompt="1"/>
          </p:nvPr>
        </p:nvSpPr>
        <p:spPr>
          <a:xfrm>
            <a:off x="6101572" y="2188559"/>
            <a:ext cx="5895223" cy="3831241"/>
          </a:xfrm>
        </p:spPr>
        <p:txBody>
          <a:bodyPr anchor="ctr">
            <a:noAutofit/>
          </a:bodyPr>
          <a:lstStyle>
            <a:lvl1pPr algn="ctr">
              <a:defRPr sz="2000"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4920" y="2188560"/>
            <a:ext cx="5240537" cy="2624741"/>
          </a:xfrm>
        </p:spPr>
        <p:txBody>
          <a:bodyPr wrap="square" lIns="0" tIns="0" rIns="0" bIns="0">
            <a:noAutofit/>
          </a:bodyPr>
          <a:lstStyle>
            <a:lvl1pPr marL="0" marR="0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600" b="0" i="0">
                <a:solidFill>
                  <a:srgbClr val="000000"/>
                </a:solidFill>
                <a:latin typeface="+mn-lt"/>
              </a:defRPr>
            </a:lvl1pPr>
            <a:lvl2pPr marL="228557" marR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  <a:p>
            <a:pPr lvl="0"/>
            <a:r>
              <a:rPr lang="pt-BR"/>
              <a:t>Subhead Segoe UI 26pt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60CBD1C-0AFE-4EB9-94D7-943981FE0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20" y="449265"/>
            <a:ext cx="11561875" cy="754061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Device layout</a:t>
            </a:r>
          </a:p>
        </p:txBody>
      </p:sp>
    </p:spTree>
    <p:extLst>
      <p:ext uri="{BB962C8B-B14F-4D97-AF65-F5344CB8AC3E}">
        <p14:creationId xmlns:p14="http://schemas.microsoft.com/office/powerpoint/2010/main" val="7979144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phic layout: three columns graphic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434920" y="1631569"/>
            <a:ext cx="3704752" cy="31912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915093" y="1997456"/>
            <a:ext cx="2752374" cy="2459482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4366656" y="1631569"/>
            <a:ext cx="3695230" cy="31912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8288870" y="1631569"/>
            <a:ext cx="3707925" cy="31912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8" hasCustomPrompt="1"/>
          </p:nvPr>
        </p:nvSpPr>
        <p:spPr>
          <a:xfrm>
            <a:off x="4841257" y="1997456"/>
            <a:ext cx="2752374" cy="2459482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8769788" y="1997456"/>
            <a:ext cx="2752374" cy="2459482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C74E6E5-9DAD-4A14-9C20-D9F9150874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20" y="449265"/>
            <a:ext cx="11561875" cy="754061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Graphic layout: three columns graphic an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B052D15-67DF-4845-863F-FEC853640A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4921" y="5026024"/>
            <a:ext cx="3699929" cy="133369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599" b="1">
                <a:solidFill>
                  <a:schemeClr val="accent1"/>
                </a:solidFill>
                <a:latin typeface="+mj-lt"/>
              </a:defRPr>
            </a:lvl1pPr>
            <a:lvl2pPr marL="0" marR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99">
                <a:solidFill>
                  <a:srgbClr val="000000"/>
                </a:solidFill>
              </a:defRPr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5ECD4C7-D870-4003-9FA8-85EBBED879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66656" y="5026024"/>
            <a:ext cx="3695229" cy="133369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599">
                <a:solidFill>
                  <a:schemeClr val="accent1"/>
                </a:solidFill>
                <a:latin typeface="+mj-lt"/>
              </a:defRPr>
            </a:lvl1pPr>
            <a:lvl2pPr marL="0" marR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99">
                <a:solidFill>
                  <a:srgbClr val="000000"/>
                </a:solidFill>
              </a:defRPr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A9BECBA-B2CC-4EE6-B54E-9ADB03EB25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88868" y="5026024"/>
            <a:ext cx="3707928" cy="133369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599">
                <a:solidFill>
                  <a:schemeClr val="accent1"/>
                </a:solidFill>
                <a:latin typeface="+mj-lt"/>
              </a:defRPr>
            </a:lvl1pPr>
            <a:lvl2pPr marL="0" marR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99">
                <a:solidFill>
                  <a:srgbClr val="000000"/>
                </a:solidFill>
              </a:defRPr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763224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 layout: four columns graphic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9594C393-E06E-3A4C-A658-2526A14DA5A1}"/>
              </a:ext>
            </a:extLst>
          </p:cNvPr>
          <p:cNvSpPr/>
          <p:nvPr/>
        </p:nvSpPr>
        <p:spPr bwMode="auto">
          <a:xfrm>
            <a:off x="9290516" y="1622046"/>
            <a:ext cx="2706278" cy="319125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011C51E-94BA-C44D-ABF4-E87C4124DAF0}"/>
              </a:ext>
            </a:extLst>
          </p:cNvPr>
          <p:cNvSpPr/>
          <p:nvPr/>
        </p:nvSpPr>
        <p:spPr bwMode="auto">
          <a:xfrm>
            <a:off x="6338652" y="1622046"/>
            <a:ext cx="2706278" cy="319125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6DDB665-2DD7-AE40-9862-C6E8E22E9215}"/>
              </a:ext>
            </a:extLst>
          </p:cNvPr>
          <p:cNvSpPr/>
          <p:nvPr/>
        </p:nvSpPr>
        <p:spPr bwMode="auto">
          <a:xfrm>
            <a:off x="3386787" y="1622046"/>
            <a:ext cx="2706278" cy="319125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CD677DE-AA2C-984C-BAE1-54D5F0B518CE}"/>
              </a:ext>
            </a:extLst>
          </p:cNvPr>
          <p:cNvSpPr/>
          <p:nvPr/>
        </p:nvSpPr>
        <p:spPr bwMode="auto">
          <a:xfrm>
            <a:off x="434922" y="1622046"/>
            <a:ext cx="2706278" cy="319125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47712A-15EB-884C-BF95-7C690BA77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20" y="444500"/>
            <a:ext cx="11561875" cy="758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Graphic layout: four columns graphic and text</a:t>
            </a:r>
          </a:p>
        </p:txBody>
      </p:sp>
      <p:sp>
        <p:nvSpPr>
          <p:cNvPr id="4" name="Content Placeholder 15">
            <a:extLst>
              <a:ext uri="{FF2B5EF4-FFF2-40B4-BE49-F238E27FC236}">
                <a16:creationId xmlns:a16="http://schemas.microsoft.com/office/drawing/2014/main" id="{F580A529-D3A8-5643-80BA-3E2BE1AA8D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86011" y="2178050"/>
            <a:ext cx="1604100" cy="2079244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Content Placeholder 15">
            <a:extLst>
              <a:ext uri="{FF2B5EF4-FFF2-40B4-BE49-F238E27FC236}">
                <a16:creationId xmlns:a16="http://schemas.microsoft.com/office/drawing/2014/main" id="{1F6D7A4B-5FFE-2741-8477-E0CAA019B07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925943" y="2178050"/>
            <a:ext cx="1627963" cy="2079244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7CF99F6-2487-AC48-8A09-B34B72BD5F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4922" y="5026024"/>
            <a:ext cx="2706278" cy="133369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599" b="1">
                <a:solidFill>
                  <a:schemeClr val="accent1"/>
                </a:solidFill>
                <a:latin typeface="+mj-lt"/>
              </a:defRPr>
            </a:lvl1pPr>
            <a:lvl2pPr marL="0" marR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99">
                <a:solidFill>
                  <a:srgbClr val="000000"/>
                </a:solidFill>
              </a:defRPr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F7B5F75-90C0-F44E-9322-8FF1108BD3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6787" y="5026024"/>
            <a:ext cx="2706278" cy="133369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599">
                <a:solidFill>
                  <a:schemeClr val="accent1"/>
                </a:solidFill>
                <a:latin typeface="+mj-lt"/>
              </a:defRPr>
            </a:lvl1pPr>
            <a:lvl2pPr marL="0" marR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99">
                <a:solidFill>
                  <a:srgbClr val="000000"/>
                </a:solidFill>
              </a:defRPr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E444E9C-8096-FE42-BE2A-094180C611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8652" y="5026024"/>
            <a:ext cx="2706278" cy="133369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599">
                <a:solidFill>
                  <a:schemeClr val="accent1"/>
                </a:solidFill>
                <a:latin typeface="+mj-lt"/>
              </a:defRPr>
            </a:lvl1pPr>
            <a:lvl2pPr marL="0" marR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99">
                <a:solidFill>
                  <a:srgbClr val="000000"/>
                </a:solidFill>
              </a:defRPr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  <p:sp>
        <p:nvSpPr>
          <p:cNvPr id="13" name="Content Placeholder 15">
            <a:extLst>
              <a:ext uri="{FF2B5EF4-FFF2-40B4-BE49-F238E27FC236}">
                <a16:creationId xmlns:a16="http://schemas.microsoft.com/office/drawing/2014/main" id="{30602BFF-4B8C-D046-AD65-47970BC89DF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877809" y="2178050"/>
            <a:ext cx="1627963" cy="2079244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88A8CB35-A244-544E-8BAE-53CB85074FB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829673" y="2178050"/>
            <a:ext cx="1627963" cy="2079244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8D35D15-66F4-4840-BA72-4B7AB5A24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290516" y="5026024"/>
            <a:ext cx="2706278" cy="133369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1599">
                <a:solidFill>
                  <a:schemeClr val="accent1"/>
                </a:solidFill>
                <a:latin typeface="+mj-lt"/>
              </a:defRPr>
            </a:lvl1pPr>
            <a:lvl2pPr marL="0" marR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99">
                <a:solidFill>
                  <a:srgbClr val="000000"/>
                </a:solidFill>
              </a:defRPr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994461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34920" y="2178049"/>
            <a:ext cx="11561875" cy="4373564"/>
          </a:xfrm>
        </p:spPr>
        <p:txBody>
          <a:bodyPr bIns="1737360" anchor="ctr">
            <a:noAutofit/>
          </a:bodyPr>
          <a:lstStyle>
            <a:lvl1pPr algn="ctr">
              <a:defRPr sz="20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4F997AC3-87B6-4E0B-88C2-A05069E413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20" y="449265"/>
            <a:ext cx="11561875" cy="754061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able layout</a:t>
            </a:r>
          </a:p>
        </p:txBody>
      </p:sp>
    </p:spTree>
    <p:extLst>
      <p:ext uri="{BB962C8B-B14F-4D97-AF65-F5344CB8AC3E}">
        <p14:creationId xmlns:p14="http://schemas.microsoft.com/office/powerpoint/2010/main" val="16155190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1DFDA0F-DF8C-43A1-8D19-A6F4C111F7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2948" t="4718" r="3149" b="22029"/>
          <a:stretch/>
        </p:blipFill>
        <p:spPr>
          <a:xfrm>
            <a:off x="5808195" y="1"/>
            <a:ext cx="6626695" cy="6995518"/>
          </a:xfrm>
          <a:prstGeom prst="rect">
            <a:avLst/>
          </a:prstGeom>
        </p:spPr>
      </p:pic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34921" y="1207896"/>
            <a:ext cx="7626965" cy="3605405"/>
          </a:xfrm>
          <a:noFill/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sz="3598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598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708022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blue">
    <p:bg>
      <p:bgPr>
        <a:solidFill>
          <a:srgbClr val="0278D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>
            <a:extLst>
              <a:ext uri="{FF2B5EF4-FFF2-40B4-BE49-F238E27FC236}">
                <a16:creationId xmlns:a16="http://schemas.microsoft.com/office/drawing/2014/main" id="{51E9DCD3-357B-4AF7-BDD2-18E09F714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21" y="1207896"/>
            <a:ext cx="7626965" cy="360540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399" spc="-150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599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445937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blue">
    <p:bg>
      <p:bgPr>
        <a:solidFill>
          <a:srgbClr val="0278D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C1A546E-4D7F-C44F-8FBF-00678B8BF75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021" t="4525" r="3347" b="21812"/>
          <a:stretch/>
        </p:blipFill>
        <p:spPr>
          <a:xfrm>
            <a:off x="5873500" y="-12950"/>
            <a:ext cx="6561388" cy="7007475"/>
          </a:xfrm>
          <a:prstGeom prst="rect">
            <a:avLst/>
          </a:prstGeom>
        </p:spPr>
      </p:pic>
      <p:sp>
        <p:nvSpPr>
          <p:cNvPr id="3" name="Title 35">
            <a:extLst>
              <a:ext uri="{FF2B5EF4-FFF2-40B4-BE49-F238E27FC236}">
                <a16:creationId xmlns:a16="http://schemas.microsoft.com/office/drawing/2014/main" id="{51E9DCD3-357B-4AF7-BDD2-18E09F714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21" y="1694560"/>
            <a:ext cx="7626965" cy="3605405"/>
          </a:xfrm>
          <a:noFill/>
        </p:spPr>
        <p:txBody>
          <a:bodyPr vert="horz" wrap="square" lIns="0" tIns="0" rIns="0" bIns="0" rtlCol="0" anchor="ctr" anchorCtr="0">
            <a:noAutofit/>
          </a:bodyPr>
          <a:lstStyle>
            <a:lvl1pPr>
              <a:lnSpc>
                <a:spcPct val="90000"/>
              </a:lnSpc>
              <a:defRPr lang="en-US" sz="3598" spc="-150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598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755859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blue">
    <p:bg>
      <p:bgPr>
        <a:solidFill>
          <a:srgbClr val="0278D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>
            <a:extLst>
              <a:ext uri="{FF2B5EF4-FFF2-40B4-BE49-F238E27FC236}">
                <a16:creationId xmlns:a16="http://schemas.microsoft.com/office/drawing/2014/main" id="{51E9DCD3-357B-4AF7-BDD2-18E09F714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21" y="1694560"/>
            <a:ext cx="7626965" cy="3605405"/>
          </a:xfrm>
          <a:noFill/>
        </p:spPr>
        <p:txBody>
          <a:bodyPr vert="horz" wrap="square" lIns="0" tIns="0" rIns="0" bIns="0" rtlCol="0" anchor="ctr" anchorCtr="0">
            <a:noAutofit/>
          </a:bodyPr>
          <a:lstStyle>
            <a:lvl1pPr>
              <a:lnSpc>
                <a:spcPct val="90000"/>
              </a:lnSpc>
              <a:defRPr lang="en-US" sz="3598" spc="-150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598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823994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422638" cy="6994524"/>
          </a:xfrm>
          <a:prstGeom prst="rect">
            <a:avLst/>
          </a:prstGeom>
        </p:spPr>
      </p:pic>
      <p:sp>
        <p:nvSpPr>
          <p:cNvPr id="13" name="Text Placeholder 4"/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9188895" y="791198"/>
            <a:ext cx="2742850" cy="572464"/>
          </a:xfrm>
        </p:spPr>
        <p:txBody>
          <a:bodyPr lIns="182880" tIns="146304" rIns="182880" bIns="146304" anchor="b"/>
          <a:lstStyle>
            <a:lvl1pPr marL="0" indent="0" algn="r">
              <a:buNone/>
              <a:defRPr sz="2000">
                <a:gradFill>
                  <a:gsLst>
                    <a:gs pos="14644">
                      <a:schemeClr val="tx1"/>
                    </a:gs>
                    <a:gs pos="37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 marL="342866" indent="0">
              <a:buNone/>
              <a:defRPr/>
            </a:lvl2pPr>
            <a:lvl3pPr marL="571443" indent="0">
              <a:buNone/>
              <a:defRPr/>
            </a:lvl3pPr>
            <a:lvl4pPr marL="800020" indent="0">
              <a:buNone/>
              <a:defRPr/>
            </a:lvl4pPr>
            <a:lvl5pPr marL="1028597" indent="0">
              <a:buNone/>
              <a:defRPr/>
            </a:lvl5pPr>
          </a:lstStyle>
          <a:p>
            <a:pPr lvl="0"/>
            <a:r>
              <a:rPr lang="en-US"/>
              <a:t>#hashtag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731723" y="475557"/>
            <a:ext cx="3200023" cy="572464"/>
          </a:xfrm>
        </p:spPr>
        <p:txBody>
          <a:bodyPr lIns="182880" tIns="146304" rIns="182880" bIns="146304" anchor="t"/>
          <a:lstStyle>
            <a:lvl1pPr marL="0" indent="0" algn="r">
              <a:buNone/>
              <a:defRPr sz="2000" baseline="0">
                <a:gradFill>
                  <a:gsLst>
                    <a:gs pos="90377">
                      <a:srgbClr val="F8F8F8"/>
                    </a:gs>
                    <a:gs pos="72000">
                      <a:srgbClr val="F8F8F8"/>
                    </a:gs>
                  </a:gsLst>
                  <a:lin ang="5400000" scaled="0"/>
                </a:gradFill>
                <a:latin typeface="+mn-lt"/>
              </a:defRPr>
            </a:lvl1pPr>
            <a:lvl2pPr marL="342866" indent="0">
              <a:buNone/>
              <a:defRPr/>
            </a:lvl2pPr>
            <a:lvl3pPr marL="571443" indent="0">
              <a:buNone/>
              <a:defRPr/>
            </a:lvl3pPr>
            <a:lvl4pPr marL="800020" indent="0">
              <a:buNone/>
              <a:defRPr/>
            </a:lvl4pPr>
            <a:lvl5pPr marL="1028597" indent="0">
              <a:buNone/>
              <a:defRPr/>
            </a:lvl5pPr>
          </a:lstStyle>
          <a:p>
            <a:pPr lvl="0"/>
            <a:r>
              <a:rPr lang="en-US"/>
              <a:t>Twitter</a:t>
            </a:r>
          </a:p>
        </p:txBody>
      </p:sp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171" y="6240964"/>
            <a:ext cx="1278347" cy="27413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7142" y="2125678"/>
            <a:ext cx="8960294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142" y="3955787"/>
            <a:ext cx="7131728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0" name="Picture 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10609921" y="6225824"/>
            <a:ext cx="1367825" cy="289276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0320" y="565132"/>
            <a:ext cx="421286" cy="42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010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4399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65256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A0EDE3-1A1B-4588-948F-093B3F8F5D5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445" t="4718" r="3150" b="22029"/>
          <a:stretch/>
        </p:blipFill>
        <p:spPr>
          <a:xfrm>
            <a:off x="5430426" y="1"/>
            <a:ext cx="7004464" cy="6995518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F1CCDE9-6610-4C2B-99BE-D85FEC4C7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920" y="1226818"/>
            <a:ext cx="3704752" cy="1195895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en-US" sz="2800">
                <a:solidFill>
                  <a:schemeClr val="accent1"/>
                </a:solidFill>
              </a:rPr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1E5D324E-B60B-47CE-9777-1A1294F462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4751" y="1226819"/>
            <a:ext cx="3690467" cy="2046714"/>
          </a:xfrm>
        </p:spPr>
        <p:txBody>
          <a:bodyPr tIns="182880"/>
          <a:lstStyle>
            <a:lvl1pPr>
              <a:lnSpc>
                <a:spcPct val="90000"/>
              </a:lnSpc>
              <a:spcBef>
                <a:spcPts val="1199"/>
              </a:spcBef>
              <a:defRPr sz="1800"/>
            </a:lvl1pPr>
          </a:lstStyle>
          <a:p>
            <a:r>
              <a:rPr lang="en-US">
                <a:solidFill>
                  <a:srgbClr val="000000"/>
                </a:solidFill>
                <a:latin typeface="+mn-lt"/>
              </a:rPr>
              <a:t>Resource 1</a:t>
            </a:r>
          </a:p>
          <a:p>
            <a:r>
              <a:rPr lang="en-US">
                <a:solidFill>
                  <a:srgbClr val="000000"/>
                </a:solidFill>
                <a:latin typeface="+mn-lt"/>
              </a:rPr>
              <a:t>Resource 2</a:t>
            </a:r>
          </a:p>
          <a:p>
            <a:r>
              <a:rPr lang="en-US">
                <a:solidFill>
                  <a:srgbClr val="000000"/>
                </a:solidFill>
                <a:latin typeface="+mn-lt"/>
              </a:rPr>
              <a:t>Resource 3</a:t>
            </a:r>
          </a:p>
          <a:p>
            <a:r>
              <a:rPr lang="en-US">
                <a:solidFill>
                  <a:srgbClr val="000000"/>
                </a:solidFill>
                <a:latin typeface="+mn-lt"/>
              </a:rPr>
              <a:t>Resource 4</a:t>
            </a:r>
          </a:p>
          <a:p>
            <a:r>
              <a:rPr lang="en-US">
                <a:solidFill>
                  <a:srgbClr val="000000"/>
                </a:solidFill>
                <a:latin typeface="+mn-lt"/>
              </a:rPr>
              <a:t>Resource 5</a:t>
            </a:r>
          </a:p>
        </p:txBody>
      </p:sp>
    </p:spTree>
    <p:extLst>
      <p:ext uri="{BB962C8B-B14F-4D97-AF65-F5344CB8AC3E}">
        <p14:creationId xmlns:p14="http://schemas.microsoft.com/office/powerpoint/2010/main" val="35971026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07DE85-B70F-4309-8506-6C011BC20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20" y="1866136"/>
            <a:ext cx="7626965" cy="1502727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99"/>
              </a:spcAft>
              <a:defRPr sz="2600" spc="-15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sp>
        <p:nvSpPr>
          <p:cNvPr id="7" name="Text Box 3">
            <a:extLst>
              <a:ext uri="{FF2B5EF4-FFF2-40B4-BE49-F238E27FC236}">
                <a16:creationId xmlns:a16="http://schemas.microsoft.com/office/drawing/2014/main" id="{F3523A4C-09FD-49AC-AA6D-1A6E7B7893EE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437031" y="6444246"/>
            <a:ext cx="4571416" cy="10986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>
                <a:solidFill>
                  <a:srgbClr val="000000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4C8B45-9D01-4389-94BD-CBAF3D8B350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8102" y="445839"/>
            <a:ext cx="914284" cy="19400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9D1918C-F2C9-4E5E-B606-3690572BDE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2948" t="4718" r="3149" b="22029"/>
          <a:stretch/>
        </p:blipFill>
        <p:spPr>
          <a:xfrm>
            <a:off x="5808195" y="1"/>
            <a:ext cx="6626695" cy="6995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2427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ank you blue">
    <p:bg>
      <p:bgPr>
        <a:solidFill>
          <a:srgbClr val="0278D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4921" y="1866136"/>
            <a:ext cx="7626965" cy="1502727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99"/>
              </a:spcAft>
              <a:defRPr sz="2600" spc="-15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sp>
        <p:nvSpPr>
          <p:cNvPr id="4" name="Text Box 3">
            <a:extLst>
              <a:ext uri="{FF2B5EF4-FFF2-40B4-BE49-F238E27FC236}">
                <a16:creationId xmlns:a16="http://schemas.microsoft.com/office/drawing/2014/main" id="{1688BD8D-D2E4-4DFC-B39C-D55D84362354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437031" y="6444246"/>
            <a:ext cx="4571416" cy="10986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>
                <a:solidFill>
                  <a:schemeClr val="bg2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6BDE7C-8AED-4A87-A171-2EB14E4B983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7221" y="445842"/>
            <a:ext cx="914284" cy="19494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34C6E96-0B10-4EB0-AB7B-C6E4BFF9F0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461" t="4525" r="3347" b="21812"/>
          <a:stretch/>
        </p:blipFill>
        <p:spPr>
          <a:xfrm>
            <a:off x="3683836" y="-12950"/>
            <a:ext cx="8751052" cy="700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458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22892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25391EC8-EA9C-4856-A45B-6B7CA3AC5B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240" y="870531"/>
            <a:ext cx="10993474" cy="344868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NL" sz="1836" dirty="0"/>
            </a:lvl1pPr>
          </a:lstStyle>
          <a:p>
            <a:pPr lvl="0"/>
            <a:r>
              <a:rPr lang="en-US"/>
              <a:t>Click to edit subtitle</a:t>
            </a:r>
            <a:endParaRPr lang="en-NL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5FDAFA75-0F24-4ABA-B06D-891992066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240" y="352728"/>
            <a:ext cx="10993473" cy="497603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NL" sz="2856" dirty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marL="0" lvl="0"/>
            <a:r>
              <a:rPr lang="en-US"/>
              <a:t>Click to edit title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571787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DA6AF3-599D-4E2E-9CA6-D0E8396E7E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4361" y="1144706"/>
            <a:ext cx="932616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F3DF9BBC-E148-4B58-B9F6-18BC1E95ED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54361" y="3673745"/>
            <a:ext cx="9326166" cy="339067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097A99C-C3D7-4E58-A3C7-649B475B0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32597">
              <a:defRPr/>
            </a:pPr>
            <a:fld id="{A573BEB7-5202-4CC3-8111-C68C0EDE40D1}" type="datetimeFigureOut">
              <a:rPr lang="nl-NL" sz="1836" smtClean="0">
                <a:solidFill>
                  <a:srgbClr val="282828"/>
                </a:solidFill>
              </a:rPr>
              <a:pPr defTabSz="932597">
                <a:defRPr/>
              </a:pPr>
              <a:t>16-7-2020</a:t>
            </a:fld>
            <a:endParaRPr lang="nl-NL" sz="1836">
              <a:solidFill>
                <a:srgbClr val="282828"/>
              </a:solidFill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B2773C0-0280-4105-8505-1EEAE28E6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32597">
              <a:defRPr/>
            </a:pPr>
            <a:endParaRPr lang="nl-NL" sz="1836">
              <a:solidFill>
                <a:srgbClr val="282828"/>
              </a:solidFill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CA824E0-A37E-4060-983A-1E743641B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32597">
              <a:defRPr/>
            </a:pPr>
            <a:fld id="{1E6B453B-BFBB-4882-BF17-D9121EBBA967}" type="slidenum">
              <a:rPr lang="nl-NL" sz="1836" smtClean="0">
                <a:solidFill>
                  <a:srgbClr val="282828"/>
                </a:solidFill>
              </a:rPr>
              <a:pPr defTabSz="932597">
                <a:defRPr/>
              </a:pPr>
              <a:t>‹nr.›</a:t>
            </a:fld>
            <a:endParaRPr lang="nl-NL" sz="1836">
              <a:solidFill>
                <a:srgbClr val="28282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8331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F5B0BC-0CDE-44D8-B3EA-071BAFFB6D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7238" y="1358587"/>
            <a:ext cx="10993474" cy="4671039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NL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BC77FD1-82AF-47F4-843A-5C14357EA5A1}"/>
              </a:ext>
            </a:extLst>
          </p:cNvPr>
          <p:cNvSpPr/>
          <p:nvPr userDrawn="1"/>
        </p:nvSpPr>
        <p:spPr>
          <a:xfrm>
            <a:off x="0" y="6735068"/>
            <a:ext cx="12434888" cy="263114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44000">
                <a:srgbClr val="606DB1"/>
              </a:gs>
              <a:gs pos="100000">
                <a:srgbClr val="622781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NL" sz="1224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60B3FDC-A720-4034-A3C0-DF51D6661E49}"/>
              </a:ext>
            </a:extLst>
          </p:cNvPr>
          <p:cNvSpPr/>
          <p:nvPr userDrawn="1"/>
        </p:nvSpPr>
        <p:spPr>
          <a:xfrm>
            <a:off x="11149036" y="6778449"/>
            <a:ext cx="548032" cy="22221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816">
                <a:solidFill>
                  <a:schemeClr val="bg1"/>
                </a:solidFill>
                <a:latin typeface="Segoe UI Semibold" panose="020B0702040204020203" pitchFamily="34" charset="0"/>
                <a:ea typeface="Arial" panose="020B0604020202020204" pitchFamily="34" charset="0"/>
                <a:cs typeface="Segoe UI Semibold" panose="020B0702040204020203" pitchFamily="34" charset="0"/>
              </a:rPr>
              <a:t>© 2020</a:t>
            </a:r>
            <a:endParaRPr lang="en-NL" sz="816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0BA9861-7B49-4D7C-871A-2B4A634D09C8}"/>
              </a:ext>
            </a:extLst>
          </p:cNvPr>
          <p:cNvGrpSpPr/>
          <p:nvPr userDrawn="1"/>
        </p:nvGrpSpPr>
        <p:grpSpPr>
          <a:xfrm>
            <a:off x="11689567" y="6798354"/>
            <a:ext cx="653803" cy="124910"/>
            <a:chOff x="2568029" y="5626159"/>
            <a:chExt cx="1466886" cy="280254"/>
          </a:xfrm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7017792-B029-4CF5-A9B8-1653BD08FD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8050" y="5699355"/>
              <a:ext cx="206865" cy="207058"/>
            </a:xfrm>
            <a:custGeom>
              <a:avLst/>
              <a:gdLst>
                <a:gd name="connsiteX0" fmla="*/ 103290 w 206865"/>
                <a:gd name="connsiteY0" fmla="*/ 52121 h 207058"/>
                <a:gd name="connsiteX1" fmla="*/ 91306 w 206865"/>
                <a:gd name="connsiteY1" fmla="*/ 53260 h 207058"/>
                <a:gd name="connsiteX2" fmla="*/ 80178 w 206865"/>
                <a:gd name="connsiteY2" fmla="*/ 57248 h 207058"/>
                <a:gd name="connsiteX3" fmla="*/ 70762 w 206865"/>
                <a:gd name="connsiteY3" fmla="*/ 63514 h 207058"/>
                <a:gd name="connsiteX4" fmla="*/ 62488 w 206865"/>
                <a:gd name="connsiteY4" fmla="*/ 71488 h 207058"/>
                <a:gd name="connsiteX5" fmla="*/ 56210 w 206865"/>
                <a:gd name="connsiteY5" fmla="*/ 81457 h 207058"/>
                <a:gd name="connsiteX6" fmla="*/ 52501 w 206865"/>
                <a:gd name="connsiteY6" fmla="*/ 92564 h 207058"/>
                <a:gd name="connsiteX7" fmla="*/ 50789 w 206865"/>
                <a:gd name="connsiteY7" fmla="*/ 104527 h 207058"/>
                <a:gd name="connsiteX8" fmla="*/ 52501 w 206865"/>
                <a:gd name="connsiteY8" fmla="*/ 116489 h 207058"/>
                <a:gd name="connsiteX9" fmla="*/ 56210 w 206865"/>
                <a:gd name="connsiteY9" fmla="*/ 127027 h 207058"/>
                <a:gd name="connsiteX10" fmla="*/ 62488 w 206865"/>
                <a:gd name="connsiteY10" fmla="*/ 136995 h 207058"/>
                <a:gd name="connsiteX11" fmla="*/ 70762 w 206865"/>
                <a:gd name="connsiteY11" fmla="*/ 145255 h 207058"/>
                <a:gd name="connsiteX12" fmla="*/ 80178 w 206865"/>
                <a:gd name="connsiteY12" fmla="*/ 151236 h 207058"/>
                <a:gd name="connsiteX13" fmla="*/ 91306 w 206865"/>
                <a:gd name="connsiteY13" fmla="*/ 155223 h 207058"/>
                <a:gd name="connsiteX14" fmla="*/ 103290 w 206865"/>
                <a:gd name="connsiteY14" fmla="*/ 156362 h 207058"/>
                <a:gd name="connsiteX15" fmla="*/ 115274 w 206865"/>
                <a:gd name="connsiteY15" fmla="*/ 155223 h 207058"/>
                <a:gd name="connsiteX16" fmla="*/ 126402 w 206865"/>
                <a:gd name="connsiteY16" fmla="*/ 151236 h 207058"/>
                <a:gd name="connsiteX17" fmla="*/ 136103 w 206865"/>
                <a:gd name="connsiteY17" fmla="*/ 145255 h 207058"/>
                <a:gd name="connsiteX18" fmla="*/ 144093 w 206865"/>
                <a:gd name="connsiteY18" fmla="*/ 136995 h 207058"/>
                <a:gd name="connsiteX19" fmla="*/ 150370 w 206865"/>
                <a:gd name="connsiteY19" fmla="*/ 127027 h 207058"/>
                <a:gd name="connsiteX20" fmla="*/ 154364 w 206865"/>
                <a:gd name="connsiteY20" fmla="*/ 116489 h 207058"/>
                <a:gd name="connsiteX21" fmla="*/ 155791 w 206865"/>
                <a:gd name="connsiteY21" fmla="*/ 104527 h 207058"/>
                <a:gd name="connsiteX22" fmla="*/ 154364 w 206865"/>
                <a:gd name="connsiteY22" fmla="*/ 92564 h 207058"/>
                <a:gd name="connsiteX23" fmla="*/ 150370 w 206865"/>
                <a:gd name="connsiteY23" fmla="*/ 81457 h 207058"/>
                <a:gd name="connsiteX24" fmla="*/ 144093 w 206865"/>
                <a:gd name="connsiteY24" fmla="*/ 71488 h 207058"/>
                <a:gd name="connsiteX25" fmla="*/ 136103 w 206865"/>
                <a:gd name="connsiteY25" fmla="*/ 63514 h 207058"/>
                <a:gd name="connsiteX26" fmla="*/ 126402 w 206865"/>
                <a:gd name="connsiteY26" fmla="*/ 57248 h 207058"/>
                <a:gd name="connsiteX27" fmla="*/ 115274 w 206865"/>
                <a:gd name="connsiteY27" fmla="*/ 53260 h 207058"/>
                <a:gd name="connsiteX28" fmla="*/ 103290 w 206865"/>
                <a:gd name="connsiteY28" fmla="*/ 0 h 207058"/>
                <a:gd name="connsiteX29" fmla="*/ 120124 w 206865"/>
                <a:gd name="connsiteY29" fmla="*/ 1424 h 207058"/>
                <a:gd name="connsiteX30" fmla="*/ 136103 w 206865"/>
                <a:gd name="connsiteY30" fmla="*/ 5412 h 207058"/>
                <a:gd name="connsiteX31" fmla="*/ 150940 w 206865"/>
                <a:gd name="connsiteY31" fmla="*/ 11678 h 207058"/>
                <a:gd name="connsiteX32" fmla="*/ 164636 w 206865"/>
                <a:gd name="connsiteY32" fmla="*/ 19937 h 207058"/>
                <a:gd name="connsiteX33" fmla="*/ 176620 w 206865"/>
                <a:gd name="connsiteY33" fmla="*/ 30190 h 207058"/>
                <a:gd name="connsiteX34" fmla="*/ 186892 w 206865"/>
                <a:gd name="connsiteY34" fmla="*/ 42152 h 207058"/>
                <a:gd name="connsiteX35" fmla="*/ 195452 w 206865"/>
                <a:gd name="connsiteY35" fmla="*/ 56108 h 207058"/>
                <a:gd name="connsiteX36" fmla="*/ 201729 w 206865"/>
                <a:gd name="connsiteY36" fmla="*/ 70634 h 207058"/>
                <a:gd name="connsiteX37" fmla="*/ 205724 w 206865"/>
                <a:gd name="connsiteY37" fmla="*/ 86583 h 207058"/>
                <a:gd name="connsiteX38" fmla="*/ 206865 w 206865"/>
                <a:gd name="connsiteY38" fmla="*/ 103672 h 207058"/>
                <a:gd name="connsiteX39" fmla="*/ 205724 w 206865"/>
                <a:gd name="connsiteY39" fmla="*/ 120476 h 207058"/>
                <a:gd name="connsiteX40" fmla="*/ 201729 w 206865"/>
                <a:gd name="connsiteY40" fmla="*/ 135855 h 207058"/>
                <a:gd name="connsiteX41" fmla="*/ 195452 w 206865"/>
                <a:gd name="connsiteY41" fmla="*/ 151235 h 207058"/>
                <a:gd name="connsiteX42" fmla="*/ 186892 w 206865"/>
                <a:gd name="connsiteY42" fmla="*/ 164337 h 207058"/>
                <a:gd name="connsiteX43" fmla="*/ 176620 w 206865"/>
                <a:gd name="connsiteY43" fmla="*/ 176299 h 207058"/>
                <a:gd name="connsiteX44" fmla="*/ 164636 w 206865"/>
                <a:gd name="connsiteY44" fmla="*/ 187121 h 207058"/>
                <a:gd name="connsiteX45" fmla="*/ 150940 w 206865"/>
                <a:gd name="connsiteY45" fmla="*/ 195381 h 207058"/>
                <a:gd name="connsiteX46" fmla="*/ 136103 w 206865"/>
                <a:gd name="connsiteY46" fmla="*/ 201647 h 207058"/>
                <a:gd name="connsiteX47" fmla="*/ 120124 w 206865"/>
                <a:gd name="connsiteY47" fmla="*/ 205634 h 207058"/>
                <a:gd name="connsiteX48" fmla="*/ 103290 w 206865"/>
                <a:gd name="connsiteY48" fmla="*/ 207058 h 207058"/>
                <a:gd name="connsiteX49" fmla="*/ 86455 w 206865"/>
                <a:gd name="connsiteY49" fmla="*/ 205634 h 207058"/>
                <a:gd name="connsiteX50" fmla="*/ 70762 w 206865"/>
                <a:gd name="connsiteY50" fmla="*/ 201647 h 207058"/>
                <a:gd name="connsiteX51" fmla="*/ 55640 w 206865"/>
                <a:gd name="connsiteY51" fmla="*/ 195381 h 207058"/>
                <a:gd name="connsiteX52" fmla="*/ 42229 w 206865"/>
                <a:gd name="connsiteY52" fmla="*/ 187121 h 207058"/>
                <a:gd name="connsiteX53" fmla="*/ 30245 w 206865"/>
                <a:gd name="connsiteY53" fmla="*/ 176299 h 207058"/>
                <a:gd name="connsiteX54" fmla="*/ 19688 w 206865"/>
                <a:gd name="connsiteY54" fmla="*/ 164337 h 207058"/>
                <a:gd name="connsiteX55" fmla="*/ 11128 w 206865"/>
                <a:gd name="connsiteY55" fmla="*/ 151235 h 207058"/>
                <a:gd name="connsiteX56" fmla="*/ 4851 w 206865"/>
                <a:gd name="connsiteY56" fmla="*/ 135855 h 207058"/>
                <a:gd name="connsiteX57" fmla="*/ 1427 w 206865"/>
                <a:gd name="connsiteY57" fmla="*/ 120476 h 207058"/>
                <a:gd name="connsiteX58" fmla="*/ 0 w 206865"/>
                <a:gd name="connsiteY58" fmla="*/ 103672 h 207058"/>
                <a:gd name="connsiteX59" fmla="*/ 1427 w 206865"/>
                <a:gd name="connsiteY59" fmla="*/ 86583 h 207058"/>
                <a:gd name="connsiteX60" fmla="*/ 4851 w 206865"/>
                <a:gd name="connsiteY60" fmla="*/ 70634 h 207058"/>
                <a:gd name="connsiteX61" fmla="*/ 11128 w 206865"/>
                <a:gd name="connsiteY61" fmla="*/ 56108 h 207058"/>
                <a:gd name="connsiteX62" fmla="*/ 19688 w 206865"/>
                <a:gd name="connsiteY62" fmla="*/ 42152 h 207058"/>
                <a:gd name="connsiteX63" fmla="*/ 30245 w 206865"/>
                <a:gd name="connsiteY63" fmla="*/ 30190 h 207058"/>
                <a:gd name="connsiteX64" fmla="*/ 42229 w 206865"/>
                <a:gd name="connsiteY64" fmla="*/ 19937 h 207058"/>
                <a:gd name="connsiteX65" fmla="*/ 55640 w 206865"/>
                <a:gd name="connsiteY65" fmla="*/ 11678 h 207058"/>
                <a:gd name="connsiteX66" fmla="*/ 70762 w 206865"/>
                <a:gd name="connsiteY66" fmla="*/ 5412 h 207058"/>
                <a:gd name="connsiteX67" fmla="*/ 86455 w 206865"/>
                <a:gd name="connsiteY67" fmla="*/ 1424 h 207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206865" h="207058">
                  <a:moveTo>
                    <a:pt x="103290" y="52121"/>
                  </a:moveTo>
                  <a:lnTo>
                    <a:pt x="91306" y="53260"/>
                  </a:lnTo>
                  <a:lnTo>
                    <a:pt x="80178" y="57248"/>
                  </a:lnTo>
                  <a:lnTo>
                    <a:pt x="70762" y="63514"/>
                  </a:lnTo>
                  <a:lnTo>
                    <a:pt x="62488" y="71488"/>
                  </a:lnTo>
                  <a:lnTo>
                    <a:pt x="56210" y="81457"/>
                  </a:lnTo>
                  <a:lnTo>
                    <a:pt x="52501" y="92564"/>
                  </a:lnTo>
                  <a:lnTo>
                    <a:pt x="50789" y="104527"/>
                  </a:lnTo>
                  <a:lnTo>
                    <a:pt x="52501" y="116489"/>
                  </a:lnTo>
                  <a:lnTo>
                    <a:pt x="56210" y="127027"/>
                  </a:lnTo>
                  <a:lnTo>
                    <a:pt x="62488" y="136995"/>
                  </a:lnTo>
                  <a:lnTo>
                    <a:pt x="70762" y="145255"/>
                  </a:lnTo>
                  <a:lnTo>
                    <a:pt x="80178" y="151236"/>
                  </a:lnTo>
                  <a:lnTo>
                    <a:pt x="91306" y="155223"/>
                  </a:lnTo>
                  <a:lnTo>
                    <a:pt x="103290" y="156362"/>
                  </a:lnTo>
                  <a:lnTo>
                    <a:pt x="115274" y="155223"/>
                  </a:lnTo>
                  <a:lnTo>
                    <a:pt x="126402" y="151236"/>
                  </a:lnTo>
                  <a:lnTo>
                    <a:pt x="136103" y="145255"/>
                  </a:lnTo>
                  <a:lnTo>
                    <a:pt x="144093" y="136995"/>
                  </a:lnTo>
                  <a:lnTo>
                    <a:pt x="150370" y="127027"/>
                  </a:lnTo>
                  <a:lnTo>
                    <a:pt x="154364" y="116489"/>
                  </a:lnTo>
                  <a:lnTo>
                    <a:pt x="155791" y="104527"/>
                  </a:lnTo>
                  <a:lnTo>
                    <a:pt x="154364" y="92564"/>
                  </a:lnTo>
                  <a:lnTo>
                    <a:pt x="150370" y="81457"/>
                  </a:lnTo>
                  <a:lnTo>
                    <a:pt x="144093" y="71488"/>
                  </a:lnTo>
                  <a:lnTo>
                    <a:pt x="136103" y="63514"/>
                  </a:lnTo>
                  <a:lnTo>
                    <a:pt x="126402" y="57248"/>
                  </a:lnTo>
                  <a:lnTo>
                    <a:pt x="115274" y="53260"/>
                  </a:lnTo>
                  <a:close/>
                  <a:moveTo>
                    <a:pt x="103290" y="0"/>
                  </a:moveTo>
                  <a:lnTo>
                    <a:pt x="120124" y="1424"/>
                  </a:lnTo>
                  <a:lnTo>
                    <a:pt x="136103" y="5412"/>
                  </a:lnTo>
                  <a:lnTo>
                    <a:pt x="150940" y="11678"/>
                  </a:lnTo>
                  <a:lnTo>
                    <a:pt x="164636" y="19937"/>
                  </a:lnTo>
                  <a:lnTo>
                    <a:pt x="176620" y="30190"/>
                  </a:lnTo>
                  <a:lnTo>
                    <a:pt x="186892" y="42152"/>
                  </a:lnTo>
                  <a:lnTo>
                    <a:pt x="195452" y="56108"/>
                  </a:lnTo>
                  <a:lnTo>
                    <a:pt x="201729" y="70634"/>
                  </a:lnTo>
                  <a:lnTo>
                    <a:pt x="205724" y="86583"/>
                  </a:lnTo>
                  <a:lnTo>
                    <a:pt x="206865" y="103672"/>
                  </a:lnTo>
                  <a:lnTo>
                    <a:pt x="205724" y="120476"/>
                  </a:lnTo>
                  <a:lnTo>
                    <a:pt x="201729" y="135855"/>
                  </a:lnTo>
                  <a:lnTo>
                    <a:pt x="195452" y="151235"/>
                  </a:lnTo>
                  <a:lnTo>
                    <a:pt x="186892" y="164337"/>
                  </a:lnTo>
                  <a:lnTo>
                    <a:pt x="176620" y="176299"/>
                  </a:lnTo>
                  <a:lnTo>
                    <a:pt x="164636" y="187121"/>
                  </a:lnTo>
                  <a:lnTo>
                    <a:pt x="150940" y="195381"/>
                  </a:lnTo>
                  <a:lnTo>
                    <a:pt x="136103" y="201647"/>
                  </a:lnTo>
                  <a:lnTo>
                    <a:pt x="120124" y="205634"/>
                  </a:lnTo>
                  <a:lnTo>
                    <a:pt x="103290" y="207058"/>
                  </a:lnTo>
                  <a:lnTo>
                    <a:pt x="86455" y="205634"/>
                  </a:lnTo>
                  <a:lnTo>
                    <a:pt x="70762" y="201647"/>
                  </a:lnTo>
                  <a:lnTo>
                    <a:pt x="55640" y="195381"/>
                  </a:lnTo>
                  <a:lnTo>
                    <a:pt x="42229" y="187121"/>
                  </a:lnTo>
                  <a:lnTo>
                    <a:pt x="30245" y="176299"/>
                  </a:lnTo>
                  <a:lnTo>
                    <a:pt x="19688" y="164337"/>
                  </a:lnTo>
                  <a:lnTo>
                    <a:pt x="11128" y="151235"/>
                  </a:lnTo>
                  <a:lnTo>
                    <a:pt x="4851" y="135855"/>
                  </a:lnTo>
                  <a:lnTo>
                    <a:pt x="1427" y="120476"/>
                  </a:lnTo>
                  <a:lnTo>
                    <a:pt x="0" y="103672"/>
                  </a:lnTo>
                  <a:lnTo>
                    <a:pt x="1427" y="86583"/>
                  </a:lnTo>
                  <a:lnTo>
                    <a:pt x="4851" y="70634"/>
                  </a:lnTo>
                  <a:lnTo>
                    <a:pt x="11128" y="56108"/>
                  </a:lnTo>
                  <a:lnTo>
                    <a:pt x="19688" y="42152"/>
                  </a:lnTo>
                  <a:lnTo>
                    <a:pt x="30245" y="30190"/>
                  </a:lnTo>
                  <a:lnTo>
                    <a:pt x="42229" y="19937"/>
                  </a:lnTo>
                  <a:lnTo>
                    <a:pt x="55640" y="11678"/>
                  </a:lnTo>
                  <a:lnTo>
                    <a:pt x="70762" y="5412"/>
                  </a:lnTo>
                  <a:lnTo>
                    <a:pt x="86455" y="1424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nl-NL" sz="1836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82AF39A0-0C73-4ED4-81E4-E6DAF89B8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113" y="5703912"/>
              <a:ext cx="99580" cy="199368"/>
            </a:xfrm>
            <a:custGeom>
              <a:avLst/>
              <a:gdLst>
                <a:gd name="T0" fmla="*/ 229 w 349"/>
                <a:gd name="T1" fmla="*/ 0 h 700"/>
                <a:gd name="T2" fmla="*/ 349 w 349"/>
                <a:gd name="T3" fmla="*/ 0 h 700"/>
                <a:gd name="T4" fmla="*/ 349 w 349"/>
                <a:gd name="T5" fmla="*/ 700 h 700"/>
                <a:gd name="T6" fmla="*/ 175 w 349"/>
                <a:gd name="T7" fmla="*/ 700 h 700"/>
                <a:gd name="T8" fmla="*/ 175 w 349"/>
                <a:gd name="T9" fmla="*/ 178 h 700"/>
                <a:gd name="T10" fmla="*/ 36 w 349"/>
                <a:gd name="T11" fmla="*/ 212 h 700"/>
                <a:gd name="T12" fmla="*/ 0 w 349"/>
                <a:gd name="T13" fmla="*/ 69 h 700"/>
                <a:gd name="T14" fmla="*/ 229 w 349"/>
                <a:gd name="T15" fmla="*/ 0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9" h="700">
                  <a:moveTo>
                    <a:pt x="229" y="0"/>
                  </a:moveTo>
                  <a:lnTo>
                    <a:pt x="349" y="0"/>
                  </a:lnTo>
                  <a:lnTo>
                    <a:pt x="349" y="700"/>
                  </a:lnTo>
                  <a:lnTo>
                    <a:pt x="175" y="700"/>
                  </a:lnTo>
                  <a:lnTo>
                    <a:pt x="175" y="178"/>
                  </a:lnTo>
                  <a:lnTo>
                    <a:pt x="36" y="212"/>
                  </a:lnTo>
                  <a:lnTo>
                    <a:pt x="0" y="69"/>
                  </a:lnTo>
                  <a:lnTo>
                    <a:pt x="22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836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536D9515-728F-41CD-9F05-8BD482A916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1933" y="5757742"/>
              <a:ext cx="117556" cy="117627"/>
            </a:xfrm>
            <a:custGeom>
              <a:avLst/>
              <a:gdLst>
                <a:gd name="T0" fmla="*/ 206 w 412"/>
                <a:gd name="T1" fmla="*/ 0 h 413"/>
                <a:gd name="T2" fmla="*/ 248 w 412"/>
                <a:gd name="T3" fmla="*/ 4 h 413"/>
                <a:gd name="T4" fmla="*/ 287 w 412"/>
                <a:gd name="T5" fmla="*/ 17 h 413"/>
                <a:gd name="T6" fmla="*/ 321 w 412"/>
                <a:gd name="T7" fmla="*/ 35 h 413"/>
                <a:gd name="T8" fmla="*/ 353 w 412"/>
                <a:gd name="T9" fmla="*/ 60 h 413"/>
                <a:gd name="T10" fmla="*/ 378 w 412"/>
                <a:gd name="T11" fmla="*/ 92 h 413"/>
                <a:gd name="T12" fmla="*/ 396 w 412"/>
                <a:gd name="T13" fmla="*/ 126 h 413"/>
                <a:gd name="T14" fmla="*/ 409 w 412"/>
                <a:gd name="T15" fmla="*/ 165 h 413"/>
                <a:gd name="T16" fmla="*/ 412 w 412"/>
                <a:gd name="T17" fmla="*/ 207 h 413"/>
                <a:gd name="T18" fmla="*/ 409 w 412"/>
                <a:gd name="T19" fmla="*/ 248 h 413"/>
                <a:gd name="T20" fmla="*/ 396 w 412"/>
                <a:gd name="T21" fmla="*/ 287 h 413"/>
                <a:gd name="T22" fmla="*/ 378 w 412"/>
                <a:gd name="T23" fmla="*/ 322 h 413"/>
                <a:gd name="T24" fmla="*/ 353 w 412"/>
                <a:gd name="T25" fmla="*/ 352 h 413"/>
                <a:gd name="T26" fmla="*/ 321 w 412"/>
                <a:gd name="T27" fmla="*/ 377 h 413"/>
                <a:gd name="T28" fmla="*/ 287 w 412"/>
                <a:gd name="T29" fmla="*/ 396 h 413"/>
                <a:gd name="T30" fmla="*/ 248 w 412"/>
                <a:gd name="T31" fmla="*/ 408 h 413"/>
                <a:gd name="T32" fmla="*/ 206 w 412"/>
                <a:gd name="T33" fmla="*/ 413 h 413"/>
                <a:gd name="T34" fmla="*/ 164 w 412"/>
                <a:gd name="T35" fmla="*/ 408 h 413"/>
                <a:gd name="T36" fmla="*/ 127 w 412"/>
                <a:gd name="T37" fmla="*/ 396 h 413"/>
                <a:gd name="T38" fmla="*/ 91 w 412"/>
                <a:gd name="T39" fmla="*/ 377 h 413"/>
                <a:gd name="T40" fmla="*/ 61 w 412"/>
                <a:gd name="T41" fmla="*/ 352 h 413"/>
                <a:gd name="T42" fmla="*/ 36 w 412"/>
                <a:gd name="T43" fmla="*/ 322 h 413"/>
                <a:gd name="T44" fmla="*/ 16 w 412"/>
                <a:gd name="T45" fmla="*/ 287 h 413"/>
                <a:gd name="T46" fmla="*/ 5 w 412"/>
                <a:gd name="T47" fmla="*/ 248 h 413"/>
                <a:gd name="T48" fmla="*/ 0 w 412"/>
                <a:gd name="T49" fmla="*/ 207 h 413"/>
                <a:gd name="T50" fmla="*/ 5 w 412"/>
                <a:gd name="T51" fmla="*/ 165 h 413"/>
                <a:gd name="T52" fmla="*/ 16 w 412"/>
                <a:gd name="T53" fmla="*/ 126 h 413"/>
                <a:gd name="T54" fmla="*/ 36 w 412"/>
                <a:gd name="T55" fmla="*/ 92 h 413"/>
                <a:gd name="T56" fmla="*/ 61 w 412"/>
                <a:gd name="T57" fmla="*/ 60 h 413"/>
                <a:gd name="T58" fmla="*/ 91 w 412"/>
                <a:gd name="T59" fmla="*/ 35 h 413"/>
                <a:gd name="T60" fmla="*/ 127 w 412"/>
                <a:gd name="T61" fmla="*/ 17 h 413"/>
                <a:gd name="T62" fmla="*/ 164 w 412"/>
                <a:gd name="T63" fmla="*/ 4 h 413"/>
                <a:gd name="T64" fmla="*/ 206 w 412"/>
                <a:gd name="T65" fmla="*/ 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2" h="413">
                  <a:moveTo>
                    <a:pt x="206" y="0"/>
                  </a:moveTo>
                  <a:lnTo>
                    <a:pt x="248" y="4"/>
                  </a:lnTo>
                  <a:lnTo>
                    <a:pt x="287" y="17"/>
                  </a:lnTo>
                  <a:lnTo>
                    <a:pt x="321" y="35"/>
                  </a:lnTo>
                  <a:lnTo>
                    <a:pt x="353" y="60"/>
                  </a:lnTo>
                  <a:lnTo>
                    <a:pt x="378" y="92"/>
                  </a:lnTo>
                  <a:lnTo>
                    <a:pt x="396" y="126"/>
                  </a:lnTo>
                  <a:lnTo>
                    <a:pt x="409" y="165"/>
                  </a:lnTo>
                  <a:lnTo>
                    <a:pt x="412" y="207"/>
                  </a:lnTo>
                  <a:lnTo>
                    <a:pt x="409" y="248"/>
                  </a:lnTo>
                  <a:lnTo>
                    <a:pt x="396" y="287"/>
                  </a:lnTo>
                  <a:lnTo>
                    <a:pt x="378" y="322"/>
                  </a:lnTo>
                  <a:lnTo>
                    <a:pt x="353" y="352"/>
                  </a:lnTo>
                  <a:lnTo>
                    <a:pt x="321" y="377"/>
                  </a:lnTo>
                  <a:lnTo>
                    <a:pt x="287" y="396"/>
                  </a:lnTo>
                  <a:lnTo>
                    <a:pt x="248" y="408"/>
                  </a:lnTo>
                  <a:lnTo>
                    <a:pt x="206" y="413"/>
                  </a:lnTo>
                  <a:lnTo>
                    <a:pt x="164" y="408"/>
                  </a:lnTo>
                  <a:lnTo>
                    <a:pt x="127" y="396"/>
                  </a:lnTo>
                  <a:lnTo>
                    <a:pt x="91" y="377"/>
                  </a:lnTo>
                  <a:lnTo>
                    <a:pt x="61" y="352"/>
                  </a:lnTo>
                  <a:lnTo>
                    <a:pt x="36" y="322"/>
                  </a:lnTo>
                  <a:lnTo>
                    <a:pt x="16" y="287"/>
                  </a:lnTo>
                  <a:lnTo>
                    <a:pt x="5" y="248"/>
                  </a:lnTo>
                  <a:lnTo>
                    <a:pt x="0" y="207"/>
                  </a:lnTo>
                  <a:lnTo>
                    <a:pt x="5" y="165"/>
                  </a:lnTo>
                  <a:lnTo>
                    <a:pt x="16" y="126"/>
                  </a:lnTo>
                  <a:lnTo>
                    <a:pt x="36" y="92"/>
                  </a:lnTo>
                  <a:lnTo>
                    <a:pt x="61" y="60"/>
                  </a:lnTo>
                  <a:lnTo>
                    <a:pt x="91" y="35"/>
                  </a:lnTo>
                  <a:lnTo>
                    <a:pt x="127" y="17"/>
                  </a:lnTo>
                  <a:lnTo>
                    <a:pt x="164" y="4"/>
                  </a:lnTo>
                  <a:lnTo>
                    <a:pt x="20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836"/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B98AF921-CA8C-4B89-8F04-C8E0B7AB5D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3367" y="5757742"/>
              <a:ext cx="117842" cy="117627"/>
            </a:xfrm>
            <a:custGeom>
              <a:avLst/>
              <a:gdLst>
                <a:gd name="T0" fmla="*/ 206 w 413"/>
                <a:gd name="T1" fmla="*/ 0 h 413"/>
                <a:gd name="T2" fmla="*/ 248 w 413"/>
                <a:gd name="T3" fmla="*/ 4 h 413"/>
                <a:gd name="T4" fmla="*/ 287 w 413"/>
                <a:gd name="T5" fmla="*/ 17 h 413"/>
                <a:gd name="T6" fmla="*/ 321 w 413"/>
                <a:gd name="T7" fmla="*/ 35 h 413"/>
                <a:gd name="T8" fmla="*/ 352 w 413"/>
                <a:gd name="T9" fmla="*/ 60 h 413"/>
                <a:gd name="T10" fmla="*/ 377 w 413"/>
                <a:gd name="T11" fmla="*/ 92 h 413"/>
                <a:gd name="T12" fmla="*/ 396 w 413"/>
                <a:gd name="T13" fmla="*/ 126 h 413"/>
                <a:gd name="T14" fmla="*/ 408 w 413"/>
                <a:gd name="T15" fmla="*/ 165 h 413"/>
                <a:gd name="T16" fmla="*/ 413 w 413"/>
                <a:gd name="T17" fmla="*/ 207 h 413"/>
                <a:gd name="T18" fmla="*/ 408 w 413"/>
                <a:gd name="T19" fmla="*/ 248 h 413"/>
                <a:gd name="T20" fmla="*/ 396 w 413"/>
                <a:gd name="T21" fmla="*/ 287 h 413"/>
                <a:gd name="T22" fmla="*/ 377 w 413"/>
                <a:gd name="T23" fmla="*/ 322 h 413"/>
                <a:gd name="T24" fmla="*/ 352 w 413"/>
                <a:gd name="T25" fmla="*/ 352 h 413"/>
                <a:gd name="T26" fmla="*/ 321 w 413"/>
                <a:gd name="T27" fmla="*/ 377 h 413"/>
                <a:gd name="T28" fmla="*/ 287 w 413"/>
                <a:gd name="T29" fmla="*/ 396 h 413"/>
                <a:gd name="T30" fmla="*/ 248 w 413"/>
                <a:gd name="T31" fmla="*/ 408 h 413"/>
                <a:gd name="T32" fmla="*/ 206 w 413"/>
                <a:gd name="T33" fmla="*/ 413 h 413"/>
                <a:gd name="T34" fmla="*/ 165 w 413"/>
                <a:gd name="T35" fmla="*/ 408 h 413"/>
                <a:gd name="T36" fmla="*/ 126 w 413"/>
                <a:gd name="T37" fmla="*/ 396 h 413"/>
                <a:gd name="T38" fmla="*/ 90 w 413"/>
                <a:gd name="T39" fmla="*/ 377 h 413"/>
                <a:gd name="T40" fmla="*/ 61 w 413"/>
                <a:gd name="T41" fmla="*/ 352 h 413"/>
                <a:gd name="T42" fmla="*/ 36 w 413"/>
                <a:gd name="T43" fmla="*/ 322 h 413"/>
                <a:gd name="T44" fmla="*/ 17 w 413"/>
                <a:gd name="T45" fmla="*/ 287 h 413"/>
                <a:gd name="T46" fmla="*/ 5 w 413"/>
                <a:gd name="T47" fmla="*/ 248 h 413"/>
                <a:gd name="T48" fmla="*/ 0 w 413"/>
                <a:gd name="T49" fmla="*/ 207 h 413"/>
                <a:gd name="T50" fmla="*/ 5 w 413"/>
                <a:gd name="T51" fmla="*/ 165 h 413"/>
                <a:gd name="T52" fmla="*/ 17 w 413"/>
                <a:gd name="T53" fmla="*/ 126 h 413"/>
                <a:gd name="T54" fmla="*/ 36 w 413"/>
                <a:gd name="T55" fmla="*/ 92 h 413"/>
                <a:gd name="T56" fmla="*/ 61 w 413"/>
                <a:gd name="T57" fmla="*/ 60 h 413"/>
                <a:gd name="T58" fmla="*/ 90 w 413"/>
                <a:gd name="T59" fmla="*/ 35 h 413"/>
                <a:gd name="T60" fmla="*/ 126 w 413"/>
                <a:gd name="T61" fmla="*/ 17 h 413"/>
                <a:gd name="T62" fmla="*/ 165 w 413"/>
                <a:gd name="T63" fmla="*/ 4 h 413"/>
                <a:gd name="T64" fmla="*/ 206 w 413"/>
                <a:gd name="T65" fmla="*/ 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3" h="413">
                  <a:moveTo>
                    <a:pt x="206" y="0"/>
                  </a:moveTo>
                  <a:lnTo>
                    <a:pt x="248" y="4"/>
                  </a:lnTo>
                  <a:lnTo>
                    <a:pt x="287" y="17"/>
                  </a:lnTo>
                  <a:lnTo>
                    <a:pt x="321" y="35"/>
                  </a:lnTo>
                  <a:lnTo>
                    <a:pt x="352" y="60"/>
                  </a:lnTo>
                  <a:lnTo>
                    <a:pt x="377" y="92"/>
                  </a:lnTo>
                  <a:lnTo>
                    <a:pt x="396" y="126"/>
                  </a:lnTo>
                  <a:lnTo>
                    <a:pt x="408" y="165"/>
                  </a:lnTo>
                  <a:lnTo>
                    <a:pt x="413" y="207"/>
                  </a:lnTo>
                  <a:lnTo>
                    <a:pt x="408" y="248"/>
                  </a:lnTo>
                  <a:lnTo>
                    <a:pt x="396" y="287"/>
                  </a:lnTo>
                  <a:lnTo>
                    <a:pt x="377" y="322"/>
                  </a:lnTo>
                  <a:lnTo>
                    <a:pt x="352" y="352"/>
                  </a:lnTo>
                  <a:lnTo>
                    <a:pt x="321" y="377"/>
                  </a:lnTo>
                  <a:lnTo>
                    <a:pt x="287" y="396"/>
                  </a:lnTo>
                  <a:lnTo>
                    <a:pt x="248" y="408"/>
                  </a:lnTo>
                  <a:lnTo>
                    <a:pt x="206" y="413"/>
                  </a:lnTo>
                  <a:lnTo>
                    <a:pt x="165" y="408"/>
                  </a:lnTo>
                  <a:lnTo>
                    <a:pt x="126" y="396"/>
                  </a:lnTo>
                  <a:lnTo>
                    <a:pt x="90" y="377"/>
                  </a:lnTo>
                  <a:lnTo>
                    <a:pt x="61" y="352"/>
                  </a:lnTo>
                  <a:lnTo>
                    <a:pt x="36" y="322"/>
                  </a:lnTo>
                  <a:lnTo>
                    <a:pt x="17" y="287"/>
                  </a:lnTo>
                  <a:lnTo>
                    <a:pt x="5" y="248"/>
                  </a:lnTo>
                  <a:lnTo>
                    <a:pt x="0" y="207"/>
                  </a:lnTo>
                  <a:lnTo>
                    <a:pt x="5" y="165"/>
                  </a:lnTo>
                  <a:lnTo>
                    <a:pt x="17" y="126"/>
                  </a:lnTo>
                  <a:lnTo>
                    <a:pt x="36" y="92"/>
                  </a:lnTo>
                  <a:lnTo>
                    <a:pt x="61" y="60"/>
                  </a:lnTo>
                  <a:lnTo>
                    <a:pt x="90" y="35"/>
                  </a:lnTo>
                  <a:lnTo>
                    <a:pt x="126" y="17"/>
                  </a:lnTo>
                  <a:lnTo>
                    <a:pt x="165" y="4"/>
                  </a:lnTo>
                  <a:lnTo>
                    <a:pt x="20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836"/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F2744770-24DE-415F-A039-CD4617188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724" y="5684260"/>
              <a:ext cx="111279" cy="222153"/>
            </a:xfrm>
            <a:custGeom>
              <a:avLst/>
              <a:gdLst>
                <a:gd name="T0" fmla="*/ 72 w 390"/>
                <a:gd name="T1" fmla="*/ 0 h 780"/>
                <a:gd name="T2" fmla="*/ 246 w 390"/>
                <a:gd name="T3" fmla="*/ 0 h 780"/>
                <a:gd name="T4" fmla="*/ 246 w 390"/>
                <a:gd name="T5" fmla="*/ 158 h 780"/>
                <a:gd name="T6" fmla="*/ 390 w 390"/>
                <a:gd name="T7" fmla="*/ 158 h 780"/>
                <a:gd name="T8" fmla="*/ 390 w 390"/>
                <a:gd name="T9" fmla="*/ 306 h 780"/>
                <a:gd name="T10" fmla="*/ 246 w 390"/>
                <a:gd name="T11" fmla="*/ 306 h 780"/>
                <a:gd name="T12" fmla="*/ 246 w 390"/>
                <a:gd name="T13" fmla="*/ 566 h 780"/>
                <a:gd name="T14" fmla="*/ 248 w 390"/>
                <a:gd name="T15" fmla="*/ 588 h 780"/>
                <a:gd name="T16" fmla="*/ 254 w 390"/>
                <a:gd name="T17" fmla="*/ 605 h 780"/>
                <a:gd name="T18" fmla="*/ 265 w 390"/>
                <a:gd name="T19" fmla="*/ 618 h 780"/>
                <a:gd name="T20" fmla="*/ 281 w 390"/>
                <a:gd name="T21" fmla="*/ 624 h 780"/>
                <a:gd name="T22" fmla="*/ 302 w 390"/>
                <a:gd name="T23" fmla="*/ 627 h 780"/>
                <a:gd name="T24" fmla="*/ 332 w 390"/>
                <a:gd name="T25" fmla="*/ 624 h 780"/>
                <a:gd name="T26" fmla="*/ 362 w 390"/>
                <a:gd name="T27" fmla="*/ 616 h 780"/>
                <a:gd name="T28" fmla="*/ 387 w 390"/>
                <a:gd name="T29" fmla="*/ 605 h 780"/>
                <a:gd name="T30" fmla="*/ 387 w 390"/>
                <a:gd name="T31" fmla="*/ 744 h 780"/>
                <a:gd name="T32" fmla="*/ 359 w 390"/>
                <a:gd name="T33" fmla="*/ 758 h 780"/>
                <a:gd name="T34" fmla="*/ 327 w 390"/>
                <a:gd name="T35" fmla="*/ 771 h 780"/>
                <a:gd name="T36" fmla="*/ 292 w 390"/>
                <a:gd name="T37" fmla="*/ 777 h 780"/>
                <a:gd name="T38" fmla="*/ 251 w 390"/>
                <a:gd name="T39" fmla="*/ 780 h 780"/>
                <a:gd name="T40" fmla="*/ 212 w 390"/>
                <a:gd name="T41" fmla="*/ 775 h 780"/>
                <a:gd name="T42" fmla="*/ 178 w 390"/>
                <a:gd name="T43" fmla="*/ 766 h 780"/>
                <a:gd name="T44" fmla="*/ 148 w 390"/>
                <a:gd name="T45" fmla="*/ 749 h 780"/>
                <a:gd name="T46" fmla="*/ 122 w 390"/>
                <a:gd name="T47" fmla="*/ 727 h 780"/>
                <a:gd name="T48" fmla="*/ 101 w 390"/>
                <a:gd name="T49" fmla="*/ 699 h 780"/>
                <a:gd name="T50" fmla="*/ 86 w 390"/>
                <a:gd name="T51" fmla="*/ 668 h 780"/>
                <a:gd name="T52" fmla="*/ 76 w 390"/>
                <a:gd name="T53" fmla="*/ 633 h 780"/>
                <a:gd name="T54" fmla="*/ 72 w 390"/>
                <a:gd name="T55" fmla="*/ 596 h 780"/>
                <a:gd name="T56" fmla="*/ 72 w 390"/>
                <a:gd name="T57" fmla="*/ 306 h 780"/>
                <a:gd name="T58" fmla="*/ 0 w 390"/>
                <a:gd name="T59" fmla="*/ 306 h 780"/>
                <a:gd name="T60" fmla="*/ 0 w 390"/>
                <a:gd name="T61" fmla="*/ 158 h 780"/>
                <a:gd name="T62" fmla="*/ 72 w 390"/>
                <a:gd name="T63" fmla="*/ 158 h 780"/>
                <a:gd name="T64" fmla="*/ 72 w 390"/>
                <a:gd name="T65" fmla="*/ 0 h 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90" h="780">
                  <a:moveTo>
                    <a:pt x="72" y="0"/>
                  </a:moveTo>
                  <a:lnTo>
                    <a:pt x="246" y="0"/>
                  </a:lnTo>
                  <a:lnTo>
                    <a:pt x="246" y="158"/>
                  </a:lnTo>
                  <a:lnTo>
                    <a:pt x="390" y="158"/>
                  </a:lnTo>
                  <a:lnTo>
                    <a:pt x="390" y="306"/>
                  </a:lnTo>
                  <a:lnTo>
                    <a:pt x="246" y="306"/>
                  </a:lnTo>
                  <a:lnTo>
                    <a:pt x="246" y="566"/>
                  </a:lnTo>
                  <a:lnTo>
                    <a:pt x="248" y="588"/>
                  </a:lnTo>
                  <a:lnTo>
                    <a:pt x="254" y="605"/>
                  </a:lnTo>
                  <a:lnTo>
                    <a:pt x="265" y="618"/>
                  </a:lnTo>
                  <a:lnTo>
                    <a:pt x="281" y="624"/>
                  </a:lnTo>
                  <a:lnTo>
                    <a:pt x="302" y="627"/>
                  </a:lnTo>
                  <a:lnTo>
                    <a:pt x="332" y="624"/>
                  </a:lnTo>
                  <a:lnTo>
                    <a:pt x="362" y="616"/>
                  </a:lnTo>
                  <a:lnTo>
                    <a:pt x="387" y="605"/>
                  </a:lnTo>
                  <a:lnTo>
                    <a:pt x="387" y="744"/>
                  </a:lnTo>
                  <a:lnTo>
                    <a:pt x="359" y="758"/>
                  </a:lnTo>
                  <a:lnTo>
                    <a:pt x="327" y="771"/>
                  </a:lnTo>
                  <a:lnTo>
                    <a:pt x="292" y="777"/>
                  </a:lnTo>
                  <a:lnTo>
                    <a:pt x="251" y="780"/>
                  </a:lnTo>
                  <a:lnTo>
                    <a:pt x="212" y="775"/>
                  </a:lnTo>
                  <a:lnTo>
                    <a:pt x="178" y="766"/>
                  </a:lnTo>
                  <a:lnTo>
                    <a:pt x="148" y="749"/>
                  </a:lnTo>
                  <a:lnTo>
                    <a:pt x="122" y="727"/>
                  </a:lnTo>
                  <a:lnTo>
                    <a:pt x="101" y="699"/>
                  </a:lnTo>
                  <a:lnTo>
                    <a:pt x="86" y="668"/>
                  </a:lnTo>
                  <a:lnTo>
                    <a:pt x="76" y="633"/>
                  </a:lnTo>
                  <a:lnTo>
                    <a:pt x="72" y="596"/>
                  </a:lnTo>
                  <a:lnTo>
                    <a:pt x="72" y="306"/>
                  </a:lnTo>
                  <a:lnTo>
                    <a:pt x="0" y="306"/>
                  </a:lnTo>
                  <a:lnTo>
                    <a:pt x="0" y="158"/>
                  </a:lnTo>
                  <a:lnTo>
                    <a:pt x="72" y="158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836"/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C77CEFE7-9818-4939-8FB8-A07432348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0285" y="5725558"/>
              <a:ext cx="159500" cy="177722"/>
            </a:xfrm>
            <a:custGeom>
              <a:avLst/>
              <a:gdLst>
                <a:gd name="T0" fmla="*/ 352 w 559"/>
                <a:gd name="T1" fmla="*/ 0 h 624"/>
                <a:gd name="T2" fmla="*/ 394 w 559"/>
                <a:gd name="T3" fmla="*/ 3 h 624"/>
                <a:gd name="T4" fmla="*/ 432 w 559"/>
                <a:gd name="T5" fmla="*/ 13 h 624"/>
                <a:gd name="T6" fmla="*/ 464 w 559"/>
                <a:gd name="T7" fmla="*/ 28 h 624"/>
                <a:gd name="T8" fmla="*/ 492 w 559"/>
                <a:gd name="T9" fmla="*/ 50 h 624"/>
                <a:gd name="T10" fmla="*/ 517 w 559"/>
                <a:gd name="T11" fmla="*/ 75 h 624"/>
                <a:gd name="T12" fmla="*/ 536 w 559"/>
                <a:gd name="T13" fmla="*/ 106 h 624"/>
                <a:gd name="T14" fmla="*/ 548 w 559"/>
                <a:gd name="T15" fmla="*/ 142 h 624"/>
                <a:gd name="T16" fmla="*/ 558 w 559"/>
                <a:gd name="T17" fmla="*/ 183 h 624"/>
                <a:gd name="T18" fmla="*/ 559 w 559"/>
                <a:gd name="T19" fmla="*/ 228 h 624"/>
                <a:gd name="T20" fmla="*/ 559 w 559"/>
                <a:gd name="T21" fmla="*/ 624 h 624"/>
                <a:gd name="T22" fmla="*/ 386 w 559"/>
                <a:gd name="T23" fmla="*/ 624 h 624"/>
                <a:gd name="T24" fmla="*/ 386 w 559"/>
                <a:gd name="T25" fmla="*/ 283 h 624"/>
                <a:gd name="T26" fmla="*/ 385 w 559"/>
                <a:gd name="T27" fmla="*/ 250 h 624"/>
                <a:gd name="T28" fmla="*/ 377 w 559"/>
                <a:gd name="T29" fmla="*/ 222 h 624"/>
                <a:gd name="T30" fmla="*/ 366 w 559"/>
                <a:gd name="T31" fmla="*/ 200 h 624"/>
                <a:gd name="T32" fmla="*/ 350 w 559"/>
                <a:gd name="T33" fmla="*/ 181 h 624"/>
                <a:gd name="T34" fmla="*/ 332 w 559"/>
                <a:gd name="T35" fmla="*/ 169 h 624"/>
                <a:gd name="T36" fmla="*/ 308 w 559"/>
                <a:gd name="T37" fmla="*/ 161 h 624"/>
                <a:gd name="T38" fmla="*/ 282 w 559"/>
                <a:gd name="T39" fmla="*/ 158 h 624"/>
                <a:gd name="T40" fmla="*/ 255 w 559"/>
                <a:gd name="T41" fmla="*/ 161 h 624"/>
                <a:gd name="T42" fmla="*/ 232 w 559"/>
                <a:gd name="T43" fmla="*/ 169 h 624"/>
                <a:gd name="T44" fmla="*/ 212 w 559"/>
                <a:gd name="T45" fmla="*/ 181 h 624"/>
                <a:gd name="T46" fmla="*/ 194 w 559"/>
                <a:gd name="T47" fmla="*/ 200 h 624"/>
                <a:gd name="T48" fmla="*/ 184 w 559"/>
                <a:gd name="T49" fmla="*/ 222 h 624"/>
                <a:gd name="T50" fmla="*/ 176 w 559"/>
                <a:gd name="T51" fmla="*/ 250 h 624"/>
                <a:gd name="T52" fmla="*/ 173 w 559"/>
                <a:gd name="T53" fmla="*/ 283 h 624"/>
                <a:gd name="T54" fmla="*/ 173 w 559"/>
                <a:gd name="T55" fmla="*/ 624 h 624"/>
                <a:gd name="T56" fmla="*/ 0 w 559"/>
                <a:gd name="T57" fmla="*/ 624 h 624"/>
                <a:gd name="T58" fmla="*/ 0 w 559"/>
                <a:gd name="T59" fmla="*/ 13 h 624"/>
                <a:gd name="T60" fmla="*/ 173 w 559"/>
                <a:gd name="T61" fmla="*/ 13 h 624"/>
                <a:gd name="T62" fmla="*/ 173 w 559"/>
                <a:gd name="T63" fmla="*/ 99 h 624"/>
                <a:gd name="T64" fmla="*/ 191 w 559"/>
                <a:gd name="T65" fmla="*/ 78 h 624"/>
                <a:gd name="T66" fmla="*/ 212 w 559"/>
                <a:gd name="T67" fmla="*/ 56 h 624"/>
                <a:gd name="T68" fmla="*/ 233 w 559"/>
                <a:gd name="T69" fmla="*/ 39 h 624"/>
                <a:gd name="T70" fmla="*/ 257 w 559"/>
                <a:gd name="T71" fmla="*/ 24 h 624"/>
                <a:gd name="T72" fmla="*/ 285 w 559"/>
                <a:gd name="T73" fmla="*/ 11 h 624"/>
                <a:gd name="T74" fmla="*/ 318 w 559"/>
                <a:gd name="T75" fmla="*/ 3 h 624"/>
                <a:gd name="T76" fmla="*/ 352 w 559"/>
                <a:gd name="T77" fmla="*/ 0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59" h="624">
                  <a:moveTo>
                    <a:pt x="352" y="0"/>
                  </a:moveTo>
                  <a:lnTo>
                    <a:pt x="394" y="3"/>
                  </a:lnTo>
                  <a:lnTo>
                    <a:pt x="432" y="13"/>
                  </a:lnTo>
                  <a:lnTo>
                    <a:pt x="464" y="28"/>
                  </a:lnTo>
                  <a:lnTo>
                    <a:pt x="492" y="50"/>
                  </a:lnTo>
                  <a:lnTo>
                    <a:pt x="517" y="75"/>
                  </a:lnTo>
                  <a:lnTo>
                    <a:pt x="536" y="106"/>
                  </a:lnTo>
                  <a:lnTo>
                    <a:pt x="548" y="142"/>
                  </a:lnTo>
                  <a:lnTo>
                    <a:pt x="558" y="183"/>
                  </a:lnTo>
                  <a:lnTo>
                    <a:pt x="559" y="228"/>
                  </a:lnTo>
                  <a:lnTo>
                    <a:pt x="559" y="624"/>
                  </a:lnTo>
                  <a:lnTo>
                    <a:pt x="386" y="624"/>
                  </a:lnTo>
                  <a:lnTo>
                    <a:pt x="386" y="283"/>
                  </a:lnTo>
                  <a:lnTo>
                    <a:pt x="385" y="250"/>
                  </a:lnTo>
                  <a:lnTo>
                    <a:pt x="377" y="222"/>
                  </a:lnTo>
                  <a:lnTo>
                    <a:pt x="366" y="200"/>
                  </a:lnTo>
                  <a:lnTo>
                    <a:pt x="350" y="181"/>
                  </a:lnTo>
                  <a:lnTo>
                    <a:pt x="332" y="169"/>
                  </a:lnTo>
                  <a:lnTo>
                    <a:pt x="308" y="161"/>
                  </a:lnTo>
                  <a:lnTo>
                    <a:pt x="282" y="158"/>
                  </a:lnTo>
                  <a:lnTo>
                    <a:pt x="255" y="161"/>
                  </a:lnTo>
                  <a:lnTo>
                    <a:pt x="232" y="169"/>
                  </a:lnTo>
                  <a:lnTo>
                    <a:pt x="212" y="181"/>
                  </a:lnTo>
                  <a:lnTo>
                    <a:pt x="194" y="200"/>
                  </a:lnTo>
                  <a:lnTo>
                    <a:pt x="184" y="222"/>
                  </a:lnTo>
                  <a:lnTo>
                    <a:pt x="176" y="250"/>
                  </a:lnTo>
                  <a:lnTo>
                    <a:pt x="173" y="283"/>
                  </a:lnTo>
                  <a:lnTo>
                    <a:pt x="173" y="624"/>
                  </a:lnTo>
                  <a:lnTo>
                    <a:pt x="0" y="624"/>
                  </a:lnTo>
                  <a:lnTo>
                    <a:pt x="0" y="13"/>
                  </a:lnTo>
                  <a:lnTo>
                    <a:pt x="173" y="13"/>
                  </a:lnTo>
                  <a:lnTo>
                    <a:pt x="173" y="99"/>
                  </a:lnTo>
                  <a:lnTo>
                    <a:pt x="191" y="78"/>
                  </a:lnTo>
                  <a:lnTo>
                    <a:pt x="212" y="56"/>
                  </a:lnTo>
                  <a:lnTo>
                    <a:pt x="233" y="39"/>
                  </a:lnTo>
                  <a:lnTo>
                    <a:pt x="257" y="24"/>
                  </a:lnTo>
                  <a:lnTo>
                    <a:pt x="285" y="11"/>
                  </a:lnTo>
                  <a:lnTo>
                    <a:pt x="318" y="3"/>
                  </a:lnTo>
                  <a:lnTo>
                    <a:pt x="35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836"/>
            </a:p>
          </p:txBody>
        </p:sp>
        <p:sp>
          <p:nvSpPr>
            <p:cNvPr id="51" name="Rectangle 14">
              <a:extLst>
                <a:ext uri="{FF2B5EF4-FFF2-40B4-BE49-F238E27FC236}">
                  <a16:creationId xmlns:a16="http://schemas.microsoft.com/office/drawing/2014/main" id="{94557A8F-D07F-43A4-AF38-55B62EE838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4642" y="5729261"/>
              <a:ext cx="49362" cy="17402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836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AD47FEB2-ABE7-4049-8E48-F06522714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8029" y="5676001"/>
              <a:ext cx="227979" cy="227279"/>
            </a:xfrm>
            <a:custGeom>
              <a:avLst/>
              <a:gdLst>
                <a:gd name="T0" fmla="*/ 0 w 799"/>
                <a:gd name="T1" fmla="*/ 0 h 798"/>
                <a:gd name="T2" fmla="*/ 191 w 799"/>
                <a:gd name="T3" fmla="*/ 0 h 798"/>
                <a:gd name="T4" fmla="*/ 400 w 799"/>
                <a:gd name="T5" fmla="*/ 336 h 798"/>
                <a:gd name="T6" fmla="*/ 610 w 799"/>
                <a:gd name="T7" fmla="*/ 0 h 798"/>
                <a:gd name="T8" fmla="*/ 799 w 799"/>
                <a:gd name="T9" fmla="*/ 0 h 798"/>
                <a:gd name="T10" fmla="*/ 799 w 799"/>
                <a:gd name="T11" fmla="*/ 798 h 798"/>
                <a:gd name="T12" fmla="*/ 624 w 799"/>
                <a:gd name="T13" fmla="*/ 798 h 798"/>
                <a:gd name="T14" fmla="*/ 624 w 799"/>
                <a:gd name="T15" fmla="*/ 277 h 798"/>
                <a:gd name="T16" fmla="*/ 446 w 799"/>
                <a:gd name="T17" fmla="*/ 547 h 798"/>
                <a:gd name="T18" fmla="*/ 348 w 799"/>
                <a:gd name="T19" fmla="*/ 547 h 798"/>
                <a:gd name="T20" fmla="*/ 174 w 799"/>
                <a:gd name="T21" fmla="*/ 280 h 798"/>
                <a:gd name="T22" fmla="*/ 174 w 799"/>
                <a:gd name="T23" fmla="*/ 798 h 798"/>
                <a:gd name="T24" fmla="*/ 0 w 799"/>
                <a:gd name="T25" fmla="*/ 798 h 798"/>
                <a:gd name="T26" fmla="*/ 0 w 799"/>
                <a:gd name="T27" fmla="*/ 0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9" h="798">
                  <a:moveTo>
                    <a:pt x="0" y="0"/>
                  </a:moveTo>
                  <a:lnTo>
                    <a:pt x="191" y="0"/>
                  </a:lnTo>
                  <a:lnTo>
                    <a:pt x="400" y="336"/>
                  </a:lnTo>
                  <a:lnTo>
                    <a:pt x="610" y="0"/>
                  </a:lnTo>
                  <a:lnTo>
                    <a:pt x="799" y="0"/>
                  </a:lnTo>
                  <a:lnTo>
                    <a:pt x="799" y="798"/>
                  </a:lnTo>
                  <a:lnTo>
                    <a:pt x="624" y="798"/>
                  </a:lnTo>
                  <a:lnTo>
                    <a:pt x="624" y="277"/>
                  </a:lnTo>
                  <a:lnTo>
                    <a:pt x="446" y="547"/>
                  </a:lnTo>
                  <a:lnTo>
                    <a:pt x="348" y="547"/>
                  </a:lnTo>
                  <a:lnTo>
                    <a:pt x="174" y="280"/>
                  </a:lnTo>
                  <a:lnTo>
                    <a:pt x="174" y="798"/>
                  </a:lnTo>
                  <a:lnTo>
                    <a:pt x="0" y="7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836"/>
            </a:p>
          </p:txBody>
        </p:sp>
        <p:sp>
          <p:nvSpPr>
            <p:cNvPr id="53" name="Freeform 17">
              <a:extLst>
                <a:ext uri="{FF2B5EF4-FFF2-40B4-BE49-F238E27FC236}">
                  <a16:creationId xmlns:a16="http://schemas.microsoft.com/office/drawing/2014/main" id="{CC5D26ED-70D5-418F-AB24-D908A231EC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5797" y="5626159"/>
              <a:ext cx="68765" cy="68924"/>
            </a:xfrm>
            <a:custGeom>
              <a:avLst/>
              <a:gdLst>
                <a:gd name="T0" fmla="*/ 120 w 241"/>
                <a:gd name="T1" fmla="*/ 0 h 242"/>
                <a:gd name="T2" fmla="*/ 152 w 241"/>
                <a:gd name="T3" fmla="*/ 5 h 242"/>
                <a:gd name="T4" fmla="*/ 180 w 241"/>
                <a:gd name="T5" fmla="*/ 17 h 242"/>
                <a:gd name="T6" fmla="*/ 205 w 241"/>
                <a:gd name="T7" fmla="*/ 36 h 242"/>
                <a:gd name="T8" fmla="*/ 224 w 241"/>
                <a:gd name="T9" fmla="*/ 59 h 242"/>
                <a:gd name="T10" fmla="*/ 237 w 241"/>
                <a:gd name="T11" fmla="*/ 89 h 242"/>
                <a:gd name="T12" fmla="*/ 241 w 241"/>
                <a:gd name="T13" fmla="*/ 122 h 242"/>
                <a:gd name="T14" fmla="*/ 237 w 241"/>
                <a:gd name="T15" fmla="*/ 153 h 242"/>
                <a:gd name="T16" fmla="*/ 224 w 241"/>
                <a:gd name="T17" fmla="*/ 182 h 242"/>
                <a:gd name="T18" fmla="*/ 205 w 241"/>
                <a:gd name="T19" fmla="*/ 206 h 242"/>
                <a:gd name="T20" fmla="*/ 180 w 241"/>
                <a:gd name="T21" fmla="*/ 226 h 242"/>
                <a:gd name="T22" fmla="*/ 152 w 241"/>
                <a:gd name="T23" fmla="*/ 237 h 242"/>
                <a:gd name="T24" fmla="*/ 120 w 241"/>
                <a:gd name="T25" fmla="*/ 242 h 242"/>
                <a:gd name="T26" fmla="*/ 88 w 241"/>
                <a:gd name="T27" fmla="*/ 237 h 242"/>
                <a:gd name="T28" fmla="*/ 59 w 241"/>
                <a:gd name="T29" fmla="*/ 226 h 242"/>
                <a:gd name="T30" fmla="*/ 34 w 241"/>
                <a:gd name="T31" fmla="*/ 206 h 242"/>
                <a:gd name="T32" fmla="*/ 15 w 241"/>
                <a:gd name="T33" fmla="*/ 182 h 242"/>
                <a:gd name="T34" fmla="*/ 3 w 241"/>
                <a:gd name="T35" fmla="*/ 153 h 242"/>
                <a:gd name="T36" fmla="*/ 0 w 241"/>
                <a:gd name="T37" fmla="*/ 122 h 242"/>
                <a:gd name="T38" fmla="*/ 3 w 241"/>
                <a:gd name="T39" fmla="*/ 89 h 242"/>
                <a:gd name="T40" fmla="*/ 15 w 241"/>
                <a:gd name="T41" fmla="*/ 59 h 242"/>
                <a:gd name="T42" fmla="*/ 34 w 241"/>
                <a:gd name="T43" fmla="*/ 36 h 242"/>
                <a:gd name="T44" fmla="*/ 59 w 241"/>
                <a:gd name="T45" fmla="*/ 17 h 242"/>
                <a:gd name="T46" fmla="*/ 88 w 241"/>
                <a:gd name="T47" fmla="*/ 5 h 242"/>
                <a:gd name="T48" fmla="*/ 120 w 241"/>
                <a:gd name="T49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1" h="242">
                  <a:moveTo>
                    <a:pt x="120" y="0"/>
                  </a:moveTo>
                  <a:lnTo>
                    <a:pt x="152" y="5"/>
                  </a:lnTo>
                  <a:lnTo>
                    <a:pt x="180" y="17"/>
                  </a:lnTo>
                  <a:lnTo>
                    <a:pt x="205" y="36"/>
                  </a:lnTo>
                  <a:lnTo>
                    <a:pt x="224" y="59"/>
                  </a:lnTo>
                  <a:lnTo>
                    <a:pt x="237" y="89"/>
                  </a:lnTo>
                  <a:lnTo>
                    <a:pt x="241" y="122"/>
                  </a:lnTo>
                  <a:lnTo>
                    <a:pt x="237" y="153"/>
                  </a:lnTo>
                  <a:lnTo>
                    <a:pt x="224" y="182"/>
                  </a:lnTo>
                  <a:lnTo>
                    <a:pt x="205" y="206"/>
                  </a:lnTo>
                  <a:lnTo>
                    <a:pt x="180" y="226"/>
                  </a:lnTo>
                  <a:lnTo>
                    <a:pt x="152" y="237"/>
                  </a:lnTo>
                  <a:lnTo>
                    <a:pt x="120" y="242"/>
                  </a:lnTo>
                  <a:lnTo>
                    <a:pt x="88" y="237"/>
                  </a:lnTo>
                  <a:lnTo>
                    <a:pt x="59" y="226"/>
                  </a:lnTo>
                  <a:lnTo>
                    <a:pt x="34" y="206"/>
                  </a:lnTo>
                  <a:lnTo>
                    <a:pt x="15" y="182"/>
                  </a:lnTo>
                  <a:lnTo>
                    <a:pt x="3" y="153"/>
                  </a:lnTo>
                  <a:lnTo>
                    <a:pt x="0" y="122"/>
                  </a:lnTo>
                  <a:lnTo>
                    <a:pt x="3" y="89"/>
                  </a:lnTo>
                  <a:lnTo>
                    <a:pt x="15" y="59"/>
                  </a:lnTo>
                  <a:lnTo>
                    <a:pt x="34" y="36"/>
                  </a:lnTo>
                  <a:lnTo>
                    <a:pt x="59" y="17"/>
                  </a:lnTo>
                  <a:lnTo>
                    <a:pt x="88" y="5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836"/>
            </a:p>
          </p:txBody>
        </p:sp>
      </p:grpSp>
      <p:sp>
        <p:nvSpPr>
          <p:cNvPr id="54" name="Slide Number Placeholder 5">
            <a:extLst>
              <a:ext uri="{FF2B5EF4-FFF2-40B4-BE49-F238E27FC236}">
                <a16:creationId xmlns:a16="http://schemas.microsoft.com/office/drawing/2014/main" id="{0AE74631-51C6-4B5F-9F9C-04F58CDBC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82162" y="6795929"/>
            <a:ext cx="1519554" cy="202253"/>
          </a:xfrm>
        </p:spPr>
        <p:txBody>
          <a:bodyPr/>
          <a:lstStyle>
            <a:lvl1pPr marL="0" algn="r" defTabSz="932597" rtl="0" eaLnBrk="1" latinLnBrk="0" hangingPunct="1">
              <a:defRPr lang="en-NL" sz="816" kern="1200" smtClean="0">
                <a:solidFill>
                  <a:schemeClr val="bg1"/>
                </a:solidFill>
                <a:latin typeface="Segoe UI Semibold" panose="020B0702040204020203" pitchFamily="34" charset="0"/>
                <a:ea typeface="Arial" panose="020B0604020202020204" pitchFamily="34" charset="0"/>
                <a:cs typeface="Segoe UI Semibold" panose="020B0702040204020203" pitchFamily="34" charset="0"/>
              </a:defRPr>
            </a:lvl1pPr>
          </a:lstStyle>
          <a:p>
            <a:fld id="{5257B4DB-FF93-49F5-8B48-85D85AAA1E51}" type="slidenum">
              <a:rPr lang="en-NL" smtClean="0"/>
              <a:pPr/>
              <a:t>‹nr.›</a:t>
            </a:fld>
            <a:endParaRPr lang="en-NL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79A7BF5C-2C49-4F34-AEBE-22F689630D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239" y="870531"/>
            <a:ext cx="10993474" cy="344868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NL" sz="1836" dirty="0"/>
            </a:lvl1pPr>
          </a:lstStyle>
          <a:p>
            <a:pPr lvl="0"/>
            <a:r>
              <a:rPr lang="en-US"/>
              <a:t>Click to edit subtitle</a:t>
            </a:r>
            <a:endParaRPr lang="en-NL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F8765F7-9B69-4EA4-A17D-5C523C607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240" y="352727"/>
            <a:ext cx="10993473" cy="497603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NL" sz="2856" dirty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marL="0" lvl="0"/>
            <a:r>
              <a:rPr lang="en-US"/>
              <a:t>Click to edit title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2332173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aphic layout: three columns graphic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1">
            <a:extLst>
              <a:ext uri="{FF2B5EF4-FFF2-40B4-BE49-F238E27FC236}">
                <a16:creationId xmlns:a16="http://schemas.microsoft.com/office/drawing/2014/main" id="{E2B31721-F16D-E549-98B2-EFA7A505D3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20" y="444500"/>
            <a:ext cx="11561875" cy="758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Graphic layout: two columns icons and tex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4361F3B-652D-A34A-BEC9-A6124CB3903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4918" y="1105407"/>
            <a:ext cx="11565684" cy="3600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99"/>
              </a:spcAft>
              <a:buNone/>
              <a:defRPr sz="2600" b="0" i="0">
                <a:solidFill>
                  <a:srgbClr val="000000"/>
                </a:solidFill>
                <a:latin typeface="+mn-lt"/>
              </a:defRPr>
            </a:lvl1pPr>
            <a:lvl2pPr marL="228557" indent="0">
              <a:lnSpc>
                <a:spcPct val="90000"/>
              </a:lnSpc>
              <a:spcBef>
                <a:spcPts val="0"/>
              </a:spcBef>
              <a:spcAft>
                <a:spcPts val="1299"/>
              </a:spcAft>
              <a:buNone/>
              <a:defRPr sz="2000">
                <a:solidFill>
                  <a:schemeClr val="tx2"/>
                </a:solidFill>
              </a:defRPr>
            </a:lvl2pPr>
            <a:lvl3pPr marL="457112" indent="0">
              <a:spcBef>
                <a:spcPts val="0"/>
              </a:spcBef>
              <a:spcAft>
                <a:spcPts val="1299"/>
              </a:spcAft>
              <a:buNone/>
              <a:defRPr sz="2000"/>
            </a:lvl3pPr>
            <a:lvl4pPr marL="685669" indent="0">
              <a:spcBef>
                <a:spcPts val="0"/>
              </a:spcBef>
              <a:spcAft>
                <a:spcPts val="1299"/>
              </a:spcAft>
              <a:buNone/>
              <a:defRPr sz="2000"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Subtitle Segoe UI 26pt</a:t>
            </a:r>
          </a:p>
        </p:txBody>
      </p:sp>
    </p:spTree>
    <p:extLst>
      <p:ext uri="{BB962C8B-B14F-4D97-AF65-F5344CB8AC3E}">
        <p14:creationId xmlns:p14="http://schemas.microsoft.com/office/powerpoint/2010/main" val="8789328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9E5E9-B686-486A-928E-3F7F59B5CE71}" type="datetimeFigureOut">
              <a:rPr lang="nl-NL" smtClean="0"/>
              <a:t>16-7-2020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22D34E-7160-4BCF-A9F8-5DDBA50EA97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346841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BA987B57-A789-41D8-BD25-353E406BB854}"/>
              </a:ext>
            </a:extLst>
          </p:cNvPr>
          <p:cNvSpPr/>
          <p:nvPr userDrawn="1"/>
        </p:nvSpPr>
        <p:spPr>
          <a:xfrm>
            <a:off x="11149036" y="6778450"/>
            <a:ext cx="548032" cy="22221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1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Arial" panose="020B0604020202020204" pitchFamily="34" charset="0"/>
                <a:cs typeface="Segoe UI Semibold" panose="020B0702040204020203" pitchFamily="34" charset="0"/>
              </a:rPr>
              <a:t>© 2020</a:t>
            </a:r>
            <a:endParaRPr kumimoji="0" lang="en-NL" sz="81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F45C5F6D-7821-4ED2-9F94-7520429D66E5}"/>
              </a:ext>
            </a:extLst>
          </p:cNvPr>
          <p:cNvGrpSpPr/>
          <p:nvPr userDrawn="1"/>
        </p:nvGrpSpPr>
        <p:grpSpPr>
          <a:xfrm>
            <a:off x="11689567" y="6798354"/>
            <a:ext cx="653803" cy="124910"/>
            <a:chOff x="2568029" y="5626159"/>
            <a:chExt cx="1466886" cy="280254"/>
          </a:xfrm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217032C9-BA90-46DC-96E2-0875CBE1C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8050" y="5699355"/>
              <a:ext cx="206865" cy="207058"/>
            </a:xfrm>
            <a:custGeom>
              <a:avLst/>
              <a:gdLst>
                <a:gd name="connsiteX0" fmla="*/ 103290 w 206865"/>
                <a:gd name="connsiteY0" fmla="*/ 52121 h 207058"/>
                <a:gd name="connsiteX1" fmla="*/ 91306 w 206865"/>
                <a:gd name="connsiteY1" fmla="*/ 53260 h 207058"/>
                <a:gd name="connsiteX2" fmla="*/ 80178 w 206865"/>
                <a:gd name="connsiteY2" fmla="*/ 57248 h 207058"/>
                <a:gd name="connsiteX3" fmla="*/ 70762 w 206865"/>
                <a:gd name="connsiteY3" fmla="*/ 63514 h 207058"/>
                <a:gd name="connsiteX4" fmla="*/ 62488 w 206865"/>
                <a:gd name="connsiteY4" fmla="*/ 71488 h 207058"/>
                <a:gd name="connsiteX5" fmla="*/ 56210 w 206865"/>
                <a:gd name="connsiteY5" fmla="*/ 81457 h 207058"/>
                <a:gd name="connsiteX6" fmla="*/ 52501 w 206865"/>
                <a:gd name="connsiteY6" fmla="*/ 92564 h 207058"/>
                <a:gd name="connsiteX7" fmla="*/ 50789 w 206865"/>
                <a:gd name="connsiteY7" fmla="*/ 104527 h 207058"/>
                <a:gd name="connsiteX8" fmla="*/ 52501 w 206865"/>
                <a:gd name="connsiteY8" fmla="*/ 116489 h 207058"/>
                <a:gd name="connsiteX9" fmla="*/ 56210 w 206865"/>
                <a:gd name="connsiteY9" fmla="*/ 127027 h 207058"/>
                <a:gd name="connsiteX10" fmla="*/ 62488 w 206865"/>
                <a:gd name="connsiteY10" fmla="*/ 136995 h 207058"/>
                <a:gd name="connsiteX11" fmla="*/ 70762 w 206865"/>
                <a:gd name="connsiteY11" fmla="*/ 145255 h 207058"/>
                <a:gd name="connsiteX12" fmla="*/ 80178 w 206865"/>
                <a:gd name="connsiteY12" fmla="*/ 151236 h 207058"/>
                <a:gd name="connsiteX13" fmla="*/ 91306 w 206865"/>
                <a:gd name="connsiteY13" fmla="*/ 155223 h 207058"/>
                <a:gd name="connsiteX14" fmla="*/ 103290 w 206865"/>
                <a:gd name="connsiteY14" fmla="*/ 156362 h 207058"/>
                <a:gd name="connsiteX15" fmla="*/ 115274 w 206865"/>
                <a:gd name="connsiteY15" fmla="*/ 155223 h 207058"/>
                <a:gd name="connsiteX16" fmla="*/ 126402 w 206865"/>
                <a:gd name="connsiteY16" fmla="*/ 151236 h 207058"/>
                <a:gd name="connsiteX17" fmla="*/ 136103 w 206865"/>
                <a:gd name="connsiteY17" fmla="*/ 145255 h 207058"/>
                <a:gd name="connsiteX18" fmla="*/ 144093 w 206865"/>
                <a:gd name="connsiteY18" fmla="*/ 136995 h 207058"/>
                <a:gd name="connsiteX19" fmla="*/ 150370 w 206865"/>
                <a:gd name="connsiteY19" fmla="*/ 127027 h 207058"/>
                <a:gd name="connsiteX20" fmla="*/ 154364 w 206865"/>
                <a:gd name="connsiteY20" fmla="*/ 116489 h 207058"/>
                <a:gd name="connsiteX21" fmla="*/ 155791 w 206865"/>
                <a:gd name="connsiteY21" fmla="*/ 104527 h 207058"/>
                <a:gd name="connsiteX22" fmla="*/ 154364 w 206865"/>
                <a:gd name="connsiteY22" fmla="*/ 92564 h 207058"/>
                <a:gd name="connsiteX23" fmla="*/ 150370 w 206865"/>
                <a:gd name="connsiteY23" fmla="*/ 81457 h 207058"/>
                <a:gd name="connsiteX24" fmla="*/ 144093 w 206865"/>
                <a:gd name="connsiteY24" fmla="*/ 71488 h 207058"/>
                <a:gd name="connsiteX25" fmla="*/ 136103 w 206865"/>
                <a:gd name="connsiteY25" fmla="*/ 63514 h 207058"/>
                <a:gd name="connsiteX26" fmla="*/ 126402 w 206865"/>
                <a:gd name="connsiteY26" fmla="*/ 57248 h 207058"/>
                <a:gd name="connsiteX27" fmla="*/ 115274 w 206865"/>
                <a:gd name="connsiteY27" fmla="*/ 53260 h 207058"/>
                <a:gd name="connsiteX28" fmla="*/ 103290 w 206865"/>
                <a:gd name="connsiteY28" fmla="*/ 0 h 207058"/>
                <a:gd name="connsiteX29" fmla="*/ 120124 w 206865"/>
                <a:gd name="connsiteY29" fmla="*/ 1424 h 207058"/>
                <a:gd name="connsiteX30" fmla="*/ 136103 w 206865"/>
                <a:gd name="connsiteY30" fmla="*/ 5412 h 207058"/>
                <a:gd name="connsiteX31" fmla="*/ 150940 w 206865"/>
                <a:gd name="connsiteY31" fmla="*/ 11678 h 207058"/>
                <a:gd name="connsiteX32" fmla="*/ 164636 w 206865"/>
                <a:gd name="connsiteY32" fmla="*/ 19937 h 207058"/>
                <a:gd name="connsiteX33" fmla="*/ 176620 w 206865"/>
                <a:gd name="connsiteY33" fmla="*/ 30190 h 207058"/>
                <a:gd name="connsiteX34" fmla="*/ 186892 w 206865"/>
                <a:gd name="connsiteY34" fmla="*/ 42152 h 207058"/>
                <a:gd name="connsiteX35" fmla="*/ 195452 w 206865"/>
                <a:gd name="connsiteY35" fmla="*/ 56108 h 207058"/>
                <a:gd name="connsiteX36" fmla="*/ 201729 w 206865"/>
                <a:gd name="connsiteY36" fmla="*/ 70634 h 207058"/>
                <a:gd name="connsiteX37" fmla="*/ 205724 w 206865"/>
                <a:gd name="connsiteY37" fmla="*/ 86583 h 207058"/>
                <a:gd name="connsiteX38" fmla="*/ 206865 w 206865"/>
                <a:gd name="connsiteY38" fmla="*/ 103672 h 207058"/>
                <a:gd name="connsiteX39" fmla="*/ 205724 w 206865"/>
                <a:gd name="connsiteY39" fmla="*/ 120476 h 207058"/>
                <a:gd name="connsiteX40" fmla="*/ 201729 w 206865"/>
                <a:gd name="connsiteY40" fmla="*/ 135855 h 207058"/>
                <a:gd name="connsiteX41" fmla="*/ 195452 w 206865"/>
                <a:gd name="connsiteY41" fmla="*/ 151235 h 207058"/>
                <a:gd name="connsiteX42" fmla="*/ 186892 w 206865"/>
                <a:gd name="connsiteY42" fmla="*/ 164337 h 207058"/>
                <a:gd name="connsiteX43" fmla="*/ 176620 w 206865"/>
                <a:gd name="connsiteY43" fmla="*/ 176299 h 207058"/>
                <a:gd name="connsiteX44" fmla="*/ 164636 w 206865"/>
                <a:gd name="connsiteY44" fmla="*/ 187121 h 207058"/>
                <a:gd name="connsiteX45" fmla="*/ 150940 w 206865"/>
                <a:gd name="connsiteY45" fmla="*/ 195381 h 207058"/>
                <a:gd name="connsiteX46" fmla="*/ 136103 w 206865"/>
                <a:gd name="connsiteY46" fmla="*/ 201647 h 207058"/>
                <a:gd name="connsiteX47" fmla="*/ 120124 w 206865"/>
                <a:gd name="connsiteY47" fmla="*/ 205634 h 207058"/>
                <a:gd name="connsiteX48" fmla="*/ 103290 w 206865"/>
                <a:gd name="connsiteY48" fmla="*/ 207058 h 207058"/>
                <a:gd name="connsiteX49" fmla="*/ 86455 w 206865"/>
                <a:gd name="connsiteY49" fmla="*/ 205634 h 207058"/>
                <a:gd name="connsiteX50" fmla="*/ 70762 w 206865"/>
                <a:gd name="connsiteY50" fmla="*/ 201647 h 207058"/>
                <a:gd name="connsiteX51" fmla="*/ 55640 w 206865"/>
                <a:gd name="connsiteY51" fmla="*/ 195381 h 207058"/>
                <a:gd name="connsiteX52" fmla="*/ 42229 w 206865"/>
                <a:gd name="connsiteY52" fmla="*/ 187121 h 207058"/>
                <a:gd name="connsiteX53" fmla="*/ 30245 w 206865"/>
                <a:gd name="connsiteY53" fmla="*/ 176299 h 207058"/>
                <a:gd name="connsiteX54" fmla="*/ 19688 w 206865"/>
                <a:gd name="connsiteY54" fmla="*/ 164337 h 207058"/>
                <a:gd name="connsiteX55" fmla="*/ 11128 w 206865"/>
                <a:gd name="connsiteY55" fmla="*/ 151235 h 207058"/>
                <a:gd name="connsiteX56" fmla="*/ 4851 w 206865"/>
                <a:gd name="connsiteY56" fmla="*/ 135855 h 207058"/>
                <a:gd name="connsiteX57" fmla="*/ 1427 w 206865"/>
                <a:gd name="connsiteY57" fmla="*/ 120476 h 207058"/>
                <a:gd name="connsiteX58" fmla="*/ 0 w 206865"/>
                <a:gd name="connsiteY58" fmla="*/ 103672 h 207058"/>
                <a:gd name="connsiteX59" fmla="*/ 1427 w 206865"/>
                <a:gd name="connsiteY59" fmla="*/ 86583 h 207058"/>
                <a:gd name="connsiteX60" fmla="*/ 4851 w 206865"/>
                <a:gd name="connsiteY60" fmla="*/ 70634 h 207058"/>
                <a:gd name="connsiteX61" fmla="*/ 11128 w 206865"/>
                <a:gd name="connsiteY61" fmla="*/ 56108 h 207058"/>
                <a:gd name="connsiteX62" fmla="*/ 19688 w 206865"/>
                <a:gd name="connsiteY62" fmla="*/ 42152 h 207058"/>
                <a:gd name="connsiteX63" fmla="*/ 30245 w 206865"/>
                <a:gd name="connsiteY63" fmla="*/ 30190 h 207058"/>
                <a:gd name="connsiteX64" fmla="*/ 42229 w 206865"/>
                <a:gd name="connsiteY64" fmla="*/ 19937 h 207058"/>
                <a:gd name="connsiteX65" fmla="*/ 55640 w 206865"/>
                <a:gd name="connsiteY65" fmla="*/ 11678 h 207058"/>
                <a:gd name="connsiteX66" fmla="*/ 70762 w 206865"/>
                <a:gd name="connsiteY66" fmla="*/ 5412 h 207058"/>
                <a:gd name="connsiteX67" fmla="*/ 86455 w 206865"/>
                <a:gd name="connsiteY67" fmla="*/ 1424 h 207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206865" h="207058">
                  <a:moveTo>
                    <a:pt x="103290" y="52121"/>
                  </a:moveTo>
                  <a:lnTo>
                    <a:pt x="91306" y="53260"/>
                  </a:lnTo>
                  <a:lnTo>
                    <a:pt x="80178" y="57248"/>
                  </a:lnTo>
                  <a:lnTo>
                    <a:pt x="70762" y="63514"/>
                  </a:lnTo>
                  <a:lnTo>
                    <a:pt x="62488" y="71488"/>
                  </a:lnTo>
                  <a:lnTo>
                    <a:pt x="56210" y="81457"/>
                  </a:lnTo>
                  <a:lnTo>
                    <a:pt x="52501" y="92564"/>
                  </a:lnTo>
                  <a:lnTo>
                    <a:pt x="50789" y="104527"/>
                  </a:lnTo>
                  <a:lnTo>
                    <a:pt x="52501" y="116489"/>
                  </a:lnTo>
                  <a:lnTo>
                    <a:pt x="56210" y="127027"/>
                  </a:lnTo>
                  <a:lnTo>
                    <a:pt x="62488" y="136995"/>
                  </a:lnTo>
                  <a:lnTo>
                    <a:pt x="70762" y="145255"/>
                  </a:lnTo>
                  <a:lnTo>
                    <a:pt x="80178" y="151236"/>
                  </a:lnTo>
                  <a:lnTo>
                    <a:pt x="91306" y="155223"/>
                  </a:lnTo>
                  <a:lnTo>
                    <a:pt x="103290" y="156362"/>
                  </a:lnTo>
                  <a:lnTo>
                    <a:pt x="115274" y="155223"/>
                  </a:lnTo>
                  <a:lnTo>
                    <a:pt x="126402" y="151236"/>
                  </a:lnTo>
                  <a:lnTo>
                    <a:pt x="136103" y="145255"/>
                  </a:lnTo>
                  <a:lnTo>
                    <a:pt x="144093" y="136995"/>
                  </a:lnTo>
                  <a:lnTo>
                    <a:pt x="150370" y="127027"/>
                  </a:lnTo>
                  <a:lnTo>
                    <a:pt x="154364" y="116489"/>
                  </a:lnTo>
                  <a:lnTo>
                    <a:pt x="155791" y="104527"/>
                  </a:lnTo>
                  <a:lnTo>
                    <a:pt x="154364" y="92564"/>
                  </a:lnTo>
                  <a:lnTo>
                    <a:pt x="150370" y="81457"/>
                  </a:lnTo>
                  <a:lnTo>
                    <a:pt x="144093" y="71488"/>
                  </a:lnTo>
                  <a:lnTo>
                    <a:pt x="136103" y="63514"/>
                  </a:lnTo>
                  <a:lnTo>
                    <a:pt x="126402" y="57248"/>
                  </a:lnTo>
                  <a:lnTo>
                    <a:pt x="115274" y="53260"/>
                  </a:lnTo>
                  <a:close/>
                  <a:moveTo>
                    <a:pt x="103290" y="0"/>
                  </a:moveTo>
                  <a:lnTo>
                    <a:pt x="120124" y="1424"/>
                  </a:lnTo>
                  <a:lnTo>
                    <a:pt x="136103" y="5412"/>
                  </a:lnTo>
                  <a:lnTo>
                    <a:pt x="150940" y="11678"/>
                  </a:lnTo>
                  <a:lnTo>
                    <a:pt x="164636" y="19937"/>
                  </a:lnTo>
                  <a:lnTo>
                    <a:pt x="176620" y="30190"/>
                  </a:lnTo>
                  <a:lnTo>
                    <a:pt x="186892" y="42152"/>
                  </a:lnTo>
                  <a:lnTo>
                    <a:pt x="195452" y="56108"/>
                  </a:lnTo>
                  <a:lnTo>
                    <a:pt x="201729" y="70634"/>
                  </a:lnTo>
                  <a:lnTo>
                    <a:pt x="205724" y="86583"/>
                  </a:lnTo>
                  <a:lnTo>
                    <a:pt x="206865" y="103672"/>
                  </a:lnTo>
                  <a:lnTo>
                    <a:pt x="205724" y="120476"/>
                  </a:lnTo>
                  <a:lnTo>
                    <a:pt x="201729" y="135855"/>
                  </a:lnTo>
                  <a:lnTo>
                    <a:pt x="195452" y="151235"/>
                  </a:lnTo>
                  <a:lnTo>
                    <a:pt x="186892" y="164337"/>
                  </a:lnTo>
                  <a:lnTo>
                    <a:pt x="176620" y="176299"/>
                  </a:lnTo>
                  <a:lnTo>
                    <a:pt x="164636" y="187121"/>
                  </a:lnTo>
                  <a:lnTo>
                    <a:pt x="150940" y="195381"/>
                  </a:lnTo>
                  <a:lnTo>
                    <a:pt x="136103" y="201647"/>
                  </a:lnTo>
                  <a:lnTo>
                    <a:pt x="120124" y="205634"/>
                  </a:lnTo>
                  <a:lnTo>
                    <a:pt x="103290" y="207058"/>
                  </a:lnTo>
                  <a:lnTo>
                    <a:pt x="86455" y="205634"/>
                  </a:lnTo>
                  <a:lnTo>
                    <a:pt x="70762" y="201647"/>
                  </a:lnTo>
                  <a:lnTo>
                    <a:pt x="55640" y="195381"/>
                  </a:lnTo>
                  <a:lnTo>
                    <a:pt x="42229" y="187121"/>
                  </a:lnTo>
                  <a:lnTo>
                    <a:pt x="30245" y="176299"/>
                  </a:lnTo>
                  <a:lnTo>
                    <a:pt x="19688" y="164337"/>
                  </a:lnTo>
                  <a:lnTo>
                    <a:pt x="11128" y="151235"/>
                  </a:lnTo>
                  <a:lnTo>
                    <a:pt x="4851" y="135855"/>
                  </a:lnTo>
                  <a:lnTo>
                    <a:pt x="1427" y="120476"/>
                  </a:lnTo>
                  <a:lnTo>
                    <a:pt x="0" y="103672"/>
                  </a:lnTo>
                  <a:lnTo>
                    <a:pt x="1427" y="86583"/>
                  </a:lnTo>
                  <a:lnTo>
                    <a:pt x="4851" y="70634"/>
                  </a:lnTo>
                  <a:lnTo>
                    <a:pt x="11128" y="56108"/>
                  </a:lnTo>
                  <a:lnTo>
                    <a:pt x="19688" y="42152"/>
                  </a:lnTo>
                  <a:lnTo>
                    <a:pt x="30245" y="30190"/>
                  </a:lnTo>
                  <a:lnTo>
                    <a:pt x="42229" y="19937"/>
                  </a:lnTo>
                  <a:lnTo>
                    <a:pt x="55640" y="11678"/>
                  </a:lnTo>
                  <a:lnTo>
                    <a:pt x="70762" y="5412"/>
                  </a:lnTo>
                  <a:lnTo>
                    <a:pt x="86455" y="1424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5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36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id="{E09E64B9-B1B6-427D-8BA1-F680259A8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113" y="5703912"/>
              <a:ext cx="99580" cy="199368"/>
            </a:xfrm>
            <a:custGeom>
              <a:avLst/>
              <a:gdLst>
                <a:gd name="T0" fmla="*/ 229 w 349"/>
                <a:gd name="T1" fmla="*/ 0 h 700"/>
                <a:gd name="T2" fmla="*/ 349 w 349"/>
                <a:gd name="T3" fmla="*/ 0 h 700"/>
                <a:gd name="T4" fmla="*/ 349 w 349"/>
                <a:gd name="T5" fmla="*/ 700 h 700"/>
                <a:gd name="T6" fmla="*/ 175 w 349"/>
                <a:gd name="T7" fmla="*/ 700 h 700"/>
                <a:gd name="T8" fmla="*/ 175 w 349"/>
                <a:gd name="T9" fmla="*/ 178 h 700"/>
                <a:gd name="T10" fmla="*/ 36 w 349"/>
                <a:gd name="T11" fmla="*/ 212 h 700"/>
                <a:gd name="T12" fmla="*/ 0 w 349"/>
                <a:gd name="T13" fmla="*/ 69 h 700"/>
                <a:gd name="T14" fmla="*/ 229 w 349"/>
                <a:gd name="T15" fmla="*/ 0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9" h="700">
                  <a:moveTo>
                    <a:pt x="229" y="0"/>
                  </a:moveTo>
                  <a:lnTo>
                    <a:pt x="349" y="0"/>
                  </a:lnTo>
                  <a:lnTo>
                    <a:pt x="349" y="700"/>
                  </a:lnTo>
                  <a:lnTo>
                    <a:pt x="175" y="700"/>
                  </a:lnTo>
                  <a:lnTo>
                    <a:pt x="175" y="178"/>
                  </a:lnTo>
                  <a:lnTo>
                    <a:pt x="36" y="212"/>
                  </a:lnTo>
                  <a:lnTo>
                    <a:pt x="0" y="69"/>
                  </a:lnTo>
                  <a:lnTo>
                    <a:pt x="22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5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36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10">
              <a:extLst>
                <a:ext uri="{FF2B5EF4-FFF2-40B4-BE49-F238E27FC236}">
                  <a16:creationId xmlns:a16="http://schemas.microsoft.com/office/drawing/2014/main" id="{4C5A42B4-F3F7-4659-865C-EE930D070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1933" y="5757742"/>
              <a:ext cx="117556" cy="117627"/>
            </a:xfrm>
            <a:custGeom>
              <a:avLst/>
              <a:gdLst>
                <a:gd name="T0" fmla="*/ 206 w 412"/>
                <a:gd name="T1" fmla="*/ 0 h 413"/>
                <a:gd name="T2" fmla="*/ 248 w 412"/>
                <a:gd name="T3" fmla="*/ 4 h 413"/>
                <a:gd name="T4" fmla="*/ 287 w 412"/>
                <a:gd name="T5" fmla="*/ 17 h 413"/>
                <a:gd name="T6" fmla="*/ 321 w 412"/>
                <a:gd name="T7" fmla="*/ 35 h 413"/>
                <a:gd name="T8" fmla="*/ 353 w 412"/>
                <a:gd name="T9" fmla="*/ 60 h 413"/>
                <a:gd name="T10" fmla="*/ 378 w 412"/>
                <a:gd name="T11" fmla="*/ 92 h 413"/>
                <a:gd name="T12" fmla="*/ 396 w 412"/>
                <a:gd name="T13" fmla="*/ 126 h 413"/>
                <a:gd name="T14" fmla="*/ 409 w 412"/>
                <a:gd name="T15" fmla="*/ 165 h 413"/>
                <a:gd name="T16" fmla="*/ 412 w 412"/>
                <a:gd name="T17" fmla="*/ 207 h 413"/>
                <a:gd name="T18" fmla="*/ 409 w 412"/>
                <a:gd name="T19" fmla="*/ 248 h 413"/>
                <a:gd name="T20" fmla="*/ 396 w 412"/>
                <a:gd name="T21" fmla="*/ 287 h 413"/>
                <a:gd name="T22" fmla="*/ 378 w 412"/>
                <a:gd name="T23" fmla="*/ 322 h 413"/>
                <a:gd name="T24" fmla="*/ 353 w 412"/>
                <a:gd name="T25" fmla="*/ 352 h 413"/>
                <a:gd name="T26" fmla="*/ 321 w 412"/>
                <a:gd name="T27" fmla="*/ 377 h 413"/>
                <a:gd name="T28" fmla="*/ 287 w 412"/>
                <a:gd name="T29" fmla="*/ 396 h 413"/>
                <a:gd name="T30" fmla="*/ 248 w 412"/>
                <a:gd name="T31" fmla="*/ 408 h 413"/>
                <a:gd name="T32" fmla="*/ 206 w 412"/>
                <a:gd name="T33" fmla="*/ 413 h 413"/>
                <a:gd name="T34" fmla="*/ 164 w 412"/>
                <a:gd name="T35" fmla="*/ 408 h 413"/>
                <a:gd name="T36" fmla="*/ 127 w 412"/>
                <a:gd name="T37" fmla="*/ 396 h 413"/>
                <a:gd name="T38" fmla="*/ 91 w 412"/>
                <a:gd name="T39" fmla="*/ 377 h 413"/>
                <a:gd name="T40" fmla="*/ 61 w 412"/>
                <a:gd name="T41" fmla="*/ 352 h 413"/>
                <a:gd name="T42" fmla="*/ 36 w 412"/>
                <a:gd name="T43" fmla="*/ 322 h 413"/>
                <a:gd name="T44" fmla="*/ 16 w 412"/>
                <a:gd name="T45" fmla="*/ 287 h 413"/>
                <a:gd name="T46" fmla="*/ 5 w 412"/>
                <a:gd name="T47" fmla="*/ 248 h 413"/>
                <a:gd name="T48" fmla="*/ 0 w 412"/>
                <a:gd name="T49" fmla="*/ 207 h 413"/>
                <a:gd name="T50" fmla="*/ 5 w 412"/>
                <a:gd name="T51" fmla="*/ 165 h 413"/>
                <a:gd name="T52" fmla="*/ 16 w 412"/>
                <a:gd name="T53" fmla="*/ 126 h 413"/>
                <a:gd name="T54" fmla="*/ 36 w 412"/>
                <a:gd name="T55" fmla="*/ 92 h 413"/>
                <a:gd name="T56" fmla="*/ 61 w 412"/>
                <a:gd name="T57" fmla="*/ 60 h 413"/>
                <a:gd name="T58" fmla="*/ 91 w 412"/>
                <a:gd name="T59" fmla="*/ 35 h 413"/>
                <a:gd name="T60" fmla="*/ 127 w 412"/>
                <a:gd name="T61" fmla="*/ 17 h 413"/>
                <a:gd name="T62" fmla="*/ 164 w 412"/>
                <a:gd name="T63" fmla="*/ 4 h 413"/>
                <a:gd name="T64" fmla="*/ 206 w 412"/>
                <a:gd name="T65" fmla="*/ 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2" h="413">
                  <a:moveTo>
                    <a:pt x="206" y="0"/>
                  </a:moveTo>
                  <a:lnTo>
                    <a:pt x="248" y="4"/>
                  </a:lnTo>
                  <a:lnTo>
                    <a:pt x="287" y="17"/>
                  </a:lnTo>
                  <a:lnTo>
                    <a:pt x="321" y="35"/>
                  </a:lnTo>
                  <a:lnTo>
                    <a:pt x="353" y="60"/>
                  </a:lnTo>
                  <a:lnTo>
                    <a:pt x="378" y="92"/>
                  </a:lnTo>
                  <a:lnTo>
                    <a:pt x="396" y="126"/>
                  </a:lnTo>
                  <a:lnTo>
                    <a:pt x="409" y="165"/>
                  </a:lnTo>
                  <a:lnTo>
                    <a:pt x="412" y="207"/>
                  </a:lnTo>
                  <a:lnTo>
                    <a:pt x="409" y="248"/>
                  </a:lnTo>
                  <a:lnTo>
                    <a:pt x="396" y="287"/>
                  </a:lnTo>
                  <a:lnTo>
                    <a:pt x="378" y="322"/>
                  </a:lnTo>
                  <a:lnTo>
                    <a:pt x="353" y="352"/>
                  </a:lnTo>
                  <a:lnTo>
                    <a:pt x="321" y="377"/>
                  </a:lnTo>
                  <a:lnTo>
                    <a:pt x="287" y="396"/>
                  </a:lnTo>
                  <a:lnTo>
                    <a:pt x="248" y="408"/>
                  </a:lnTo>
                  <a:lnTo>
                    <a:pt x="206" y="413"/>
                  </a:lnTo>
                  <a:lnTo>
                    <a:pt x="164" y="408"/>
                  </a:lnTo>
                  <a:lnTo>
                    <a:pt x="127" y="396"/>
                  </a:lnTo>
                  <a:lnTo>
                    <a:pt x="91" y="377"/>
                  </a:lnTo>
                  <a:lnTo>
                    <a:pt x="61" y="352"/>
                  </a:lnTo>
                  <a:lnTo>
                    <a:pt x="36" y="322"/>
                  </a:lnTo>
                  <a:lnTo>
                    <a:pt x="16" y="287"/>
                  </a:lnTo>
                  <a:lnTo>
                    <a:pt x="5" y="248"/>
                  </a:lnTo>
                  <a:lnTo>
                    <a:pt x="0" y="207"/>
                  </a:lnTo>
                  <a:lnTo>
                    <a:pt x="5" y="165"/>
                  </a:lnTo>
                  <a:lnTo>
                    <a:pt x="16" y="126"/>
                  </a:lnTo>
                  <a:lnTo>
                    <a:pt x="36" y="92"/>
                  </a:lnTo>
                  <a:lnTo>
                    <a:pt x="61" y="60"/>
                  </a:lnTo>
                  <a:lnTo>
                    <a:pt x="91" y="35"/>
                  </a:lnTo>
                  <a:lnTo>
                    <a:pt x="127" y="17"/>
                  </a:lnTo>
                  <a:lnTo>
                    <a:pt x="164" y="4"/>
                  </a:lnTo>
                  <a:lnTo>
                    <a:pt x="20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5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36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BD4CBDA8-A513-48E8-B60A-2D20DBD6E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3367" y="5757742"/>
              <a:ext cx="117842" cy="117627"/>
            </a:xfrm>
            <a:custGeom>
              <a:avLst/>
              <a:gdLst>
                <a:gd name="T0" fmla="*/ 206 w 413"/>
                <a:gd name="T1" fmla="*/ 0 h 413"/>
                <a:gd name="T2" fmla="*/ 248 w 413"/>
                <a:gd name="T3" fmla="*/ 4 h 413"/>
                <a:gd name="T4" fmla="*/ 287 w 413"/>
                <a:gd name="T5" fmla="*/ 17 h 413"/>
                <a:gd name="T6" fmla="*/ 321 w 413"/>
                <a:gd name="T7" fmla="*/ 35 h 413"/>
                <a:gd name="T8" fmla="*/ 352 w 413"/>
                <a:gd name="T9" fmla="*/ 60 h 413"/>
                <a:gd name="T10" fmla="*/ 377 w 413"/>
                <a:gd name="T11" fmla="*/ 92 h 413"/>
                <a:gd name="T12" fmla="*/ 396 w 413"/>
                <a:gd name="T13" fmla="*/ 126 h 413"/>
                <a:gd name="T14" fmla="*/ 408 w 413"/>
                <a:gd name="T15" fmla="*/ 165 h 413"/>
                <a:gd name="T16" fmla="*/ 413 w 413"/>
                <a:gd name="T17" fmla="*/ 207 h 413"/>
                <a:gd name="T18" fmla="*/ 408 w 413"/>
                <a:gd name="T19" fmla="*/ 248 h 413"/>
                <a:gd name="T20" fmla="*/ 396 w 413"/>
                <a:gd name="T21" fmla="*/ 287 h 413"/>
                <a:gd name="T22" fmla="*/ 377 w 413"/>
                <a:gd name="T23" fmla="*/ 322 h 413"/>
                <a:gd name="T24" fmla="*/ 352 w 413"/>
                <a:gd name="T25" fmla="*/ 352 h 413"/>
                <a:gd name="T26" fmla="*/ 321 w 413"/>
                <a:gd name="T27" fmla="*/ 377 h 413"/>
                <a:gd name="T28" fmla="*/ 287 w 413"/>
                <a:gd name="T29" fmla="*/ 396 h 413"/>
                <a:gd name="T30" fmla="*/ 248 w 413"/>
                <a:gd name="T31" fmla="*/ 408 h 413"/>
                <a:gd name="T32" fmla="*/ 206 w 413"/>
                <a:gd name="T33" fmla="*/ 413 h 413"/>
                <a:gd name="T34" fmla="*/ 165 w 413"/>
                <a:gd name="T35" fmla="*/ 408 h 413"/>
                <a:gd name="T36" fmla="*/ 126 w 413"/>
                <a:gd name="T37" fmla="*/ 396 h 413"/>
                <a:gd name="T38" fmla="*/ 90 w 413"/>
                <a:gd name="T39" fmla="*/ 377 h 413"/>
                <a:gd name="T40" fmla="*/ 61 w 413"/>
                <a:gd name="T41" fmla="*/ 352 h 413"/>
                <a:gd name="T42" fmla="*/ 36 w 413"/>
                <a:gd name="T43" fmla="*/ 322 h 413"/>
                <a:gd name="T44" fmla="*/ 17 w 413"/>
                <a:gd name="T45" fmla="*/ 287 h 413"/>
                <a:gd name="T46" fmla="*/ 5 w 413"/>
                <a:gd name="T47" fmla="*/ 248 h 413"/>
                <a:gd name="T48" fmla="*/ 0 w 413"/>
                <a:gd name="T49" fmla="*/ 207 h 413"/>
                <a:gd name="T50" fmla="*/ 5 w 413"/>
                <a:gd name="T51" fmla="*/ 165 h 413"/>
                <a:gd name="T52" fmla="*/ 17 w 413"/>
                <a:gd name="T53" fmla="*/ 126 h 413"/>
                <a:gd name="T54" fmla="*/ 36 w 413"/>
                <a:gd name="T55" fmla="*/ 92 h 413"/>
                <a:gd name="T56" fmla="*/ 61 w 413"/>
                <a:gd name="T57" fmla="*/ 60 h 413"/>
                <a:gd name="T58" fmla="*/ 90 w 413"/>
                <a:gd name="T59" fmla="*/ 35 h 413"/>
                <a:gd name="T60" fmla="*/ 126 w 413"/>
                <a:gd name="T61" fmla="*/ 17 h 413"/>
                <a:gd name="T62" fmla="*/ 165 w 413"/>
                <a:gd name="T63" fmla="*/ 4 h 413"/>
                <a:gd name="T64" fmla="*/ 206 w 413"/>
                <a:gd name="T65" fmla="*/ 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3" h="413">
                  <a:moveTo>
                    <a:pt x="206" y="0"/>
                  </a:moveTo>
                  <a:lnTo>
                    <a:pt x="248" y="4"/>
                  </a:lnTo>
                  <a:lnTo>
                    <a:pt x="287" y="17"/>
                  </a:lnTo>
                  <a:lnTo>
                    <a:pt x="321" y="35"/>
                  </a:lnTo>
                  <a:lnTo>
                    <a:pt x="352" y="60"/>
                  </a:lnTo>
                  <a:lnTo>
                    <a:pt x="377" y="92"/>
                  </a:lnTo>
                  <a:lnTo>
                    <a:pt x="396" y="126"/>
                  </a:lnTo>
                  <a:lnTo>
                    <a:pt x="408" y="165"/>
                  </a:lnTo>
                  <a:lnTo>
                    <a:pt x="413" y="207"/>
                  </a:lnTo>
                  <a:lnTo>
                    <a:pt x="408" y="248"/>
                  </a:lnTo>
                  <a:lnTo>
                    <a:pt x="396" y="287"/>
                  </a:lnTo>
                  <a:lnTo>
                    <a:pt x="377" y="322"/>
                  </a:lnTo>
                  <a:lnTo>
                    <a:pt x="352" y="352"/>
                  </a:lnTo>
                  <a:lnTo>
                    <a:pt x="321" y="377"/>
                  </a:lnTo>
                  <a:lnTo>
                    <a:pt x="287" y="396"/>
                  </a:lnTo>
                  <a:lnTo>
                    <a:pt x="248" y="408"/>
                  </a:lnTo>
                  <a:lnTo>
                    <a:pt x="206" y="413"/>
                  </a:lnTo>
                  <a:lnTo>
                    <a:pt x="165" y="408"/>
                  </a:lnTo>
                  <a:lnTo>
                    <a:pt x="126" y="396"/>
                  </a:lnTo>
                  <a:lnTo>
                    <a:pt x="90" y="377"/>
                  </a:lnTo>
                  <a:lnTo>
                    <a:pt x="61" y="352"/>
                  </a:lnTo>
                  <a:lnTo>
                    <a:pt x="36" y="322"/>
                  </a:lnTo>
                  <a:lnTo>
                    <a:pt x="17" y="287"/>
                  </a:lnTo>
                  <a:lnTo>
                    <a:pt x="5" y="248"/>
                  </a:lnTo>
                  <a:lnTo>
                    <a:pt x="0" y="207"/>
                  </a:lnTo>
                  <a:lnTo>
                    <a:pt x="5" y="165"/>
                  </a:lnTo>
                  <a:lnTo>
                    <a:pt x="17" y="126"/>
                  </a:lnTo>
                  <a:lnTo>
                    <a:pt x="36" y="92"/>
                  </a:lnTo>
                  <a:lnTo>
                    <a:pt x="61" y="60"/>
                  </a:lnTo>
                  <a:lnTo>
                    <a:pt x="90" y="35"/>
                  </a:lnTo>
                  <a:lnTo>
                    <a:pt x="126" y="17"/>
                  </a:lnTo>
                  <a:lnTo>
                    <a:pt x="165" y="4"/>
                  </a:lnTo>
                  <a:lnTo>
                    <a:pt x="20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5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36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12">
              <a:extLst>
                <a:ext uri="{FF2B5EF4-FFF2-40B4-BE49-F238E27FC236}">
                  <a16:creationId xmlns:a16="http://schemas.microsoft.com/office/drawing/2014/main" id="{F00C73EF-2B00-4FA9-BF72-2099044378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724" y="5684260"/>
              <a:ext cx="111279" cy="222153"/>
            </a:xfrm>
            <a:custGeom>
              <a:avLst/>
              <a:gdLst>
                <a:gd name="T0" fmla="*/ 72 w 390"/>
                <a:gd name="T1" fmla="*/ 0 h 780"/>
                <a:gd name="T2" fmla="*/ 246 w 390"/>
                <a:gd name="T3" fmla="*/ 0 h 780"/>
                <a:gd name="T4" fmla="*/ 246 w 390"/>
                <a:gd name="T5" fmla="*/ 158 h 780"/>
                <a:gd name="T6" fmla="*/ 390 w 390"/>
                <a:gd name="T7" fmla="*/ 158 h 780"/>
                <a:gd name="T8" fmla="*/ 390 w 390"/>
                <a:gd name="T9" fmla="*/ 306 h 780"/>
                <a:gd name="T10" fmla="*/ 246 w 390"/>
                <a:gd name="T11" fmla="*/ 306 h 780"/>
                <a:gd name="T12" fmla="*/ 246 w 390"/>
                <a:gd name="T13" fmla="*/ 566 h 780"/>
                <a:gd name="T14" fmla="*/ 248 w 390"/>
                <a:gd name="T15" fmla="*/ 588 h 780"/>
                <a:gd name="T16" fmla="*/ 254 w 390"/>
                <a:gd name="T17" fmla="*/ 605 h 780"/>
                <a:gd name="T18" fmla="*/ 265 w 390"/>
                <a:gd name="T19" fmla="*/ 618 h 780"/>
                <a:gd name="T20" fmla="*/ 281 w 390"/>
                <a:gd name="T21" fmla="*/ 624 h 780"/>
                <a:gd name="T22" fmla="*/ 302 w 390"/>
                <a:gd name="T23" fmla="*/ 627 h 780"/>
                <a:gd name="T24" fmla="*/ 332 w 390"/>
                <a:gd name="T25" fmla="*/ 624 h 780"/>
                <a:gd name="T26" fmla="*/ 362 w 390"/>
                <a:gd name="T27" fmla="*/ 616 h 780"/>
                <a:gd name="T28" fmla="*/ 387 w 390"/>
                <a:gd name="T29" fmla="*/ 605 h 780"/>
                <a:gd name="T30" fmla="*/ 387 w 390"/>
                <a:gd name="T31" fmla="*/ 744 h 780"/>
                <a:gd name="T32" fmla="*/ 359 w 390"/>
                <a:gd name="T33" fmla="*/ 758 h 780"/>
                <a:gd name="T34" fmla="*/ 327 w 390"/>
                <a:gd name="T35" fmla="*/ 771 h 780"/>
                <a:gd name="T36" fmla="*/ 292 w 390"/>
                <a:gd name="T37" fmla="*/ 777 h 780"/>
                <a:gd name="T38" fmla="*/ 251 w 390"/>
                <a:gd name="T39" fmla="*/ 780 h 780"/>
                <a:gd name="T40" fmla="*/ 212 w 390"/>
                <a:gd name="T41" fmla="*/ 775 h 780"/>
                <a:gd name="T42" fmla="*/ 178 w 390"/>
                <a:gd name="T43" fmla="*/ 766 h 780"/>
                <a:gd name="T44" fmla="*/ 148 w 390"/>
                <a:gd name="T45" fmla="*/ 749 h 780"/>
                <a:gd name="T46" fmla="*/ 122 w 390"/>
                <a:gd name="T47" fmla="*/ 727 h 780"/>
                <a:gd name="T48" fmla="*/ 101 w 390"/>
                <a:gd name="T49" fmla="*/ 699 h 780"/>
                <a:gd name="T50" fmla="*/ 86 w 390"/>
                <a:gd name="T51" fmla="*/ 668 h 780"/>
                <a:gd name="T52" fmla="*/ 76 w 390"/>
                <a:gd name="T53" fmla="*/ 633 h 780"/>
                <a:gd name="T54" fmla="*/ 72 w 390"/>
                <a:gd name="T55" fmla="*/ 596 h 780"/>
                <a:gd name="T56" fmla="*/ 72 w 390"/>
                <a:gd name="T57" fmla="*/ 306 h 780"/>
                <a:gd name="T58" fmla="*/ 0 w 390"/>
                <a:gd name="T59" fmla="*/ 306 h 780"/>
                <a:gd name="T60" fmla="*/ 0 w 390"/>
                <a:gd name="T61" fmla="*/ 158 h 780"/>
                <a:gd name="T62" fmla="*/ 72 w 390"/>
                <a:gd name="T63" fmla="*/ 158 h 780"/>
                <a:gd name="T64" fmla="*/ 72 w 390"/>
                <a:gd name="T65" fmla="*/ 0 h 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90" h="780">
                  <a:moveTo>
                    <a:pt x="72" y="0"/>
                  </a:moveTo>
                  <a:lnTo>
                    <a:pt x="246" y="0"/>
                  </a:lnTo>
                  <a:lnTo>
                    <a:pt x="246" y="158"/>
                  </a:lnTo>
                  <a:lnTo>
                    <a:pt x="390" y="158"/>
                  </a:lnTo>
                  <a:lnTo>
                    <a:pt x="390" y="306"/>
                  </a:lnTo>
                  <a:lnTo>
                    <a:pt x="246" y="306"/>
                  </a:lnTo>
                  <a:lnTo>
                    <a:pt x="246" y="566"/>
                  </a:lnTo>
                  <a:lnTo>
                    <a:pt x="248" y="588"/>
                  </a:lnTo>
                  <a:lnTo>
                    <a:pt x="254" y="605"/>
                  </a:lnTo>
                  <a:lnTo>
                    <a:pt x="265" y="618"/>
                  </a:lnTo>
                  <a:lnTo>
                    <a:pt x="281" y="624"/>
                  </a:lnTo>
                  <a:lnTo>
                    <a:pt x="302" y="627"/>
                  </a:lnTo>
                  <a:lnTo>
                    <a:pt x="332" y="624"/>
                  </a:lnTo>
                  <a:lnTo>
                    <a:pt x="362" y="616"/>
                  </a:lnTo>
                  <a:lnTo>
                    <a:pt x="387" y="605"/>
                  </a:lnTo>
                  <a:lnTo>
                    <a:pt x="387" y="744"/>
                  </a:lnTo>
                  <a:lnTo>
                    <a:pt x="359" y="758"/>
                  </a:lnTo>
                  <a:lnTo>
                    <a:pt x="327" y="771"/>
                  </a:lnTo>
                  <a:lnTo>
                    <a:pt x="292" y="777"/>
                  </a:lnTo>
                  <a:lnTo>
                    <a:pt x="251" y="780"/>
                  </a:lnTo>
                  <a:lnTo>
                    <a:pt x="212" y="775"/>
                  </a:lnTo>
                  <a:lnTo>
                    <a:pt x="178" y="766"/>
                  </a:lnTo>
                  <a:lnTo>
                    <a:pt x="148" y="749"/>
                  </a:lnTo>
                  <a:lnTo>
                    <a:pt x="122" y="727"/>
                  </a:lnTo>
                  <a:lnTo>
                    <a:pt x="101" y="699"/>
                  </a:lnTo>
                  <a:lnTo>
                    <a:pt x="86" y="668"/>
                  </a:lnTo>
                  <a:lnTo>
                    <a:pt x="76" y="633"/>
                  </a:lnTo>
                  <a:lnTo>
                    <a:pt x="72" y="596"/>
                  </a:lnTo>
                  <a:lnTo>
                    <a:pt x="72" y="306"/>
                  </a:lnTo>
                  <a:lnTo>
                    <a:pt x="0" y="306"/>
                  </a:lnTo>
                  <a:lnTo>
                    <a:pt x="0" y="158"/>
                  </a:lnTo>
                  <a:lnTo>
                    <a:pt x="72" y="158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5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36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Freeform 13">
              <a:extLst>
                <a:ext uri="{FF2B5EF4-FFF2-40B4-BE49-F238E27FC236}">
                  <a16:creationId xmlns:a16="http://schemas.microsoft.com/office/drawing/2014/main" id="{028D7ED2-7F88-446E-8CBD-D8C653280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0285" y="5725558"/>
              <a:ext cx="159500" cy="177722"/>
            </a:xfrm>
            <a:custGeom>
              <a:avLst/>
              <a:gdLst>
                <a:gd name="T0" fmla="*/ 352 w 559"/>
                <a:gd name="T1" fmla="*/ 0 h 624"/>
                <a:gd name="T2" fmla="*/ 394 w 559"/>
                <a:gd name="T3" fmla="*/ 3 h 624"/>
                <a:gd name="T4" fmla="*/ 432 w 559"/>
                <a:gd name="T5" fmla="*/ 13 h 624"/>
                <a:gd name="T6" fmla="*/ 464 w 559"/>
                <a:gd name="T7" fmla="*/ 28 h 624"/>
                <a:gd name="T8" fmla="*/ 492 w 559"/>
                <a:gd name="T9" fmla="*/ 50 h 624"/>
                <a:gd name="T10" fmla="*/ 517 w 559"/>
                <a:gd name="T11" fmla="*/ 75 h 624"/>
                <a:gd name="T12" fmla="*/ 536 w 559"/>
                <a:gd name="T13" fmla="*/ 106 h 624"/>
                <a:gd name="T14" fmla="*/ 548 w 559"/>
                <a:gd name="T15" fmla="*/ 142 h 624"/>
                <a:gd name="T16" fmla="*/ 558 w 559"/>
                <a:gd name="T17" fmla="*/ 183 h 624"/>
                <a:gd name="T18" fmla="*/ 559 w 559"/>
                <a:gd name="T19" fmla="*/ 228 h 624"/>
                <a:gd name="T20" fmla="*/ 559 w 559"/>
                <a:gd name="T21" fmla="*/ 624 h 624"/>
                <a:gd name="T22" fmla="*/ 386 w 559"/>
                <a:gd name="T23" fmla="*/ 624 h 624"/>
                <a:gd name="T24" fmla="*/ 386 w 559"/>
                <a:gd name="T25" fmla="*/ 283 h 624"/>
                <a:gd name="T26" fmla="*/ 385 w 559"/>
                <a:gd name="T27" fmla="*/ 250 h 624"/>
                <a:gd name="T28" fmla="*/ 377 w 559"/>
                <a:gd name="T29" fmla="*/ 222 h 624"/>
                <a:gd name="T30" fmla="*/ 366 w 559"/>
                <a:gd name="T31" fmla="*/ 200 h 624"/>
                <a:gd name="T32" fmla="*/ 350 w 559"/>
                <a:gd name="T33" fmla="*/ 181 h 624"/>
                <a:gd name="T34" fmla="*/ 332 w 559"/>
                <a:gd name="T35" fmla="*/ 169 h 624"/>
                <a:gd name="T36" fmla="*/ 308 w 559"/>
                <a:gd name="T37" fmla="*/ 161 h 624"/>
                <a:gd name="T38" fmla="*/ 282 w 559"/>
                <a:gd name="T39" fmla="*/ 158 h 624"/>
                <a:gd name="T40" fmla="*/ 255 w 559"/>
                <a:gd name="T41" fmla="*/ 161 h 624"/>
                <a:gd name="T42" fmla="*/ 232 w 559"/>
                <a:gd name="T43" fmla="*/ 169 h 624"/>
                <a:gd name="T44" fmla="*/ 212 w 559"/>
                <a:gd name="T45" fmla="*/ 181 h 624"/>
                <a:gd name="T46" fmla="*/ 194 w 559"/>
                <a:gd name="T47" fmla="*/ 200 h 624"/>
                <a:gd name="T48" fmla="*/ 184 w 559"/>
                <a:gd name="T49" fmla="*/ 222 h 624"/>
                <a:gd name="T50" fmla="*/ 176 w 559"/>
                <a:gd name="T51" fmla="*/ 250 h 624"/>
                <a:gd name="T52" fmla="*/ 173 w 559"/>
                <a:gd name="T53" fmla="*/ 283 h 624"/>
                <a:gd name="T54" fmla="*/ 173 w 559"/>
                <a:gd name="T55" fmla="*/ 624 h 624"/>
                <a:gd name="T56" fmla="*/ 0 w 559"/>
                <a:gd name="T57" fmla="*/ 624 h 624"/>
                <a:gd name="T58" fmla="*/ 0 w 559"/>
                <a:gd name="T59" fmla="*/ 13 h 624"/>
                <a:gd name="T60" fmla="*/ 173 w 559"/>
                <a:gd name="T61" fmla="*/ 13 h 624"/>
                <a:gd name="T62" fmla="*/ 173 w 559"/>
                <a:gd name="T63" fmla="*/ 99 h 624"/>
                <a:gd name="T64" fmla="*/ 191 w 559"/>
                <a:gd name="T65" fmla="*/ 78 h 624"/>
                <a:gd name="T66" fmla="*/ 212 w 559"/>
                <a:gd name="T67" fmla="*/ 56 h 624"/>
                <a:gd name="T68" fmla="*/ 233 w 559"/>
                <a:gd name="T69" fmla="*/ 39 h 624"/>
                <a:gd name="T70" fmla="*/ 257 w 559"/>
                <a:gd name="T71" fmla="*/ 24 h 624"/>
                <a:gd name="T72" fmla="*/ 285 w 559"/>
                <a:gd name="T73" fmla="*/ 11 h 624"/>
                <a:gd name="T74" fmla="*/ 318 w 559"/>
                <a:gd name="T75" fmla="*/ 3 h 624"/>
                <a:gd name="T76" fmla="*/ 352 w 559"/>
                <a:gd name="T77" fmla="*/ 0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59" h="624">
                  <a:moveTo>
                    <a:pt x="352" y="0"/>
                  </a:moveTo>
                  <a:lnTo>
                    <a:pt x="394" y="3"/>
                  </a:lnTo>
                  <a:lnTo>
                    <a:pt x="432" y="13"/>
                  </a:lnTo>
                  <a:lnTo>
                    <a:pt x="464" y="28"/>
                  </a:lnTo>
                  <a:lnTo>
                    <a:pt x="492" y="50"/>
                  </a:lnTo>
                  <a:lnTo>
                    <a:pt x="517" y="75"/>
                  </a:lnTo>
                  <a:lnTo>
                    <a:pt x="536" y="106"/>
                  </a:lnTo>
                  <a:lnTo>
                    <a:pt x="548" y="142"/>
                  </a:lnTo>
                  <a:lnTo>
                    <a:pt x="558" y="183"/>
                  </a:lnTo>
                  <a:lnTo>
                    <a:pt x="559" y="228"/>
                  </a:lnTo>
                  <a:lnTo>
                    <a:pt x="559" y="624"/>
                  </a:lnTo>
                  <a:lnTo>
                    <a:pt x="386" y="624"/>
                  </a:lnTo>
                  <a:lnTo>
                    <a:pt x="386" y="283"/>
                  </a:lnTo>
                  <a:lnTo>
                    <a:pt x="385" y="250"/>
                  </a:lnTo>
                  <a:lnTo>
                    <a:pt x="377" y="222"/>
                  </a:lnTo>
                  <a:lnTo>
                    <a:pt x="366" y="200"/>
                  </a:lnTo>
                  <a:lnTo>
                    <a:pt x="350" y="181"/>
                  </a:lnTo>
                  <a:lnTo>
                    <a:pt x="332" y="169"/>
                  </a:lnTo>
                  <a:lnTo>
                    <a:pt x="308" y="161"/>
                  </a:lnTo>
                  <a:lnTo>
                    <a:pt x="282" y="158"/>
                  </a:lnTo>
                  <a:lnTo>
                    <a:pt x="255" y="161"/>
                  </a:lnTo>
                  <a:lnTo>
                    <a:pt x="232" y="169"/>
                  </a:lnTo>
                  <a:lnTo>
                    <a:pt x="212" y="181"/>
                  </a:lnTo>
                  <a:lnTo>
                    <a:pt x="194" y="200"/>
                  </a:lnTo>
                  <a:lnTo>
                    <a:pt x="184" y="222"/>
                  </a:lnTo>
                  <a:lnTo>
                    <a:pt x="176" y="250"/>
                  </a:lnTo>
                  <a:lnTo>
                    <a:pt x="173" y="283"/>
                  </a:lnTo>
                  <a:lnTo>
                    <a:pt x="173" y="624"/>
                  </a:lnTo>
                  <a:lnTo>
                    <a:pt x="0" y="624"/>
                  </a:lnTo>
                  <a:lnTo>
                    <a:pt x="0" y="13"/>
                  </a:lnTo>
                  <a:lnTo>
                    <a:pt x="173" y="13"/>
                  </a:lnTo>
                  <a:lnTo>
                    <a:pt x="173" y="99"/>
                  </a:lnTo>
                  <a:lnTo>
                    <a:pt x="191" y="78"/>
                  </a:lnTo>
                  <a:lnTo>
                    <a:pt x="212" y="56"/>
                  </a:lnTo>
                  <a:lnTo>
                    <a:pt x="233" y="39"/>
                  </a:lnTo>
                  <a:lnTo>
                    <a:pt x="257" y="24"/>
                  </a:lnTo>
                  <a:lnTo>
                    <a:pt x="285" y="11"/>
                  </a:lnTo>
                  <a:lnTo>
                    <a:pt x="318" y="3"/>
                  </a:lnTo>
                  <a:lnTo>
                    <a:pt x="35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5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36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Rectangle 14">
              <a:extLst>
                <a:ext uri="{FF2B5EF4-FFF2-40B4-BE49-F238E27FC236}">
                  <a16:creationId xmlns:a16="http://schemas.microsoft.com/office/drawing/2014/main" id="{06F235CC-6B7C-4EE7-820B-C5DE6DCC68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4642" y="5729261"/>
              <a:ext cx="49362" cy="17402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5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36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15">
              <a:extLst>
                <a:ext uri="{FF2B5EF4-FFF2-40B4-BE49-F238E27FC236}">
                  <a16:creationId xmlns:a16="http://schemas.microsoft.com/office/drawing/2014/main" id="{5F7BEB84-ED4D-447C-942D-0B096EFFD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8029" y="5676001"/>
              <a:ext cx="227979" cy="227279"/>
            </a:xfrm>
            <a:custGeom>
              <a:avLst/>
              <a:gdLst>
                <a:gd name="T0" fmla="*/ 0 w 799"/>
                <a:gd name="T1" fmla="*/ 0 h 798"/>
                <a:gd name="T2" fmla="*/ 191 w 799"/>
                <a:gd name="T3" fmla="*/ 0 h 798"/>
                <a:gd name="T4" fmla="*/ 400 w 799"/>
                <a:gd name="T5" fmla="*/ 336 h 798"/>
                <a:gd name="T6" fmla="*/ 610 w 799"/>
                <a:gd name="T7" fmla="*/ 0 h 798"/>
                <a:gd name="T8" fmla="*/ 799 w 799"/>
                <a:gd name="T9" fmla="*/ 0 h 798"/>
                <a:gd name="T10" fmla="*/ 799 w 799"/>
                <a:gd name="T11" fmla="*/ 798 h 798"/>
                <a:gd name="T12" fmla="*/ 624 w 799"/>
                <a:gd name="T13" fmla="*/ 798 h 798"/>
                <a:gd name="T14" fmla="*/ 624 w 799"/>
                <a:gd name="T15" fmla="*/ 277 h 798"/>
                <a:gd name="T16" fmla="*/ 446 w 799"/>
                <a:gd name="T17" fmla="*/ 547 h 798"/>
                <a:gd name="T18" fmla="*/ 348 w 799"/>
                <a:gd name="T19" fmla="*/ 547 h 798"/>
                <a:gd name="T20" fmla="*/ 174 w 799"/>
                <a:gd name="T21" fmla="*/ 280 h 798"/>
                <a:gd name="T22" fmla="*/ 174 w 799"/>
                <a:gd name="T23" fmla="*/ 798 h 798"/>
                <a:gd name="T24" fmla="*/ 0 w 799"/>
                <a:gd name="T25" fmla="*/ 798 h 798"/>
                <a:gd name="T26" fmla="*/ 0 w 799"/>
                <a:gd name="T27" fmla="*/ 0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9" h="798">
                  <a:moveTo>
                    <a:pt x="0" y="0"/>
                  </a:moveTo>
                  <a:lnTo>
                    <a:pt x="191" y="0"/>
                  </a:lnTo>
                  <a:lnTo>
                    <a:pt x="400" y="336"/>
                  </a:lnTo>
                  <a:lnTo>
                    <a:pt x="610" y="0"/>
                  </a:lnTo>
                  <a:lnTo>
                    <a:pt x="799" y="0"/>
                  </a:lnTo>
                  <a:lnTo>
                    <a:pt x="799" y="798"/>
                  </a:lnTo>
                  <a:lnTo>
                    <a:pt x="624" y="798"/>
                  </a:lnTo>
                  <a:lnTo>
                    <a:pt x="624" y="277"/>
                  </a:lnTo>
                  <a:lnTo>
                    <a:pt x="446" y="547"/>
                  </a:lnTo>
                  <a:lnTo>
                    <a:pt x="348" y="547"/>
                  </a:lnTo>
                  <a:lnTo>
                    <a:pt x="174" y="280"/>
                  </a:lnTo>
                  <a:lnTo>
                    <a:pt x="174" y="798"/>
                  </a:lnTo>
                  <a:lnTo>
                    <a:pt x="0" y="7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5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36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17">
              <a:extLst>
                <a:ext uri="{FF2B5EF4-FFF2-40B4-BE49-F238E27FC236}">
                  <a16:creationId xmlns:a16="http://schemas.microsoft.com/office/drawing/2014/main" id="{D674BCC6-D6B6-4B37-8255-C52BD4E0C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5797" y="5626159"/>
              <a:ext cx="68765" cy="68924"/>
            </a:xfrm>
            <a:custGeom>
              <a:avLst/>
              <a:gdLst>
                <a:gd name="T0" fmla="*/ 120 w 241"/>
                <a:gd name="T1" fmla="*/ 0 h 242"/>
                <a:gd name="T2" fmla="*/ 152 w 241"/>
                <a:gd name="T3" fmla="*/ 5 h 242"/>
                <a:gd name="T4" fmla="*/ 180 w 241"/>
                <a:gd name="T5" fmla="*/ 17 h 242"/>
                <a:gd name="T6" fmla="*/ 205 w 241"/>
                <a:gd name="T7" fmla="*/ 36 h 242"/>
                <a:gd name="T8" fmla="*/ 224 w 241"/>
                <a:gd name="T9" fmla="*/ 59 h 242"/>
                <a:gd name="T10" fmla="*/ 237 w 241"/>
                <a:gd name="T11" fmla="*/ 89 h 242"/>
                <a:gd name="T12" fmla="*/ 241 w 241"/>
                <a:gd name="T13" fmla="*/ 122 h 242"/>
                <a:gd name="T14" fmla="*/ 237 w 241"/>
                <a:gd name="T15" fmla="*/ 153 h 242"/>
                <a:gd name="T16" fmla="*/ 224 w 241"/>
                <a:gd name="T17" fmla="*/ 182 h 242"/>
                <a:gd name="T18" fmla="*/ 205 w 241"/>
                <a:gd name="T19" fmla="*/ 206 h 242"/>
                <a:gd name="T20" fmla="*/ 180 w 241"/>
                <a:gd name="T21" fmla="*/ 226 h 242"/>
                <a:gd name="T22" fmla="*/ 152 w 241"/>
                <a:gd name="T23" fmla="*/ 237 h 242"/>
                <a:gd name="T24" fmla="*/ 120 w 241"/>
                <a:gd name="T25" fmla="*/ 242 h 242"/>
                <a:gd name="T26" fmla="*/ 88 w 241"/>
                <a:gd name="T27" fmla="*/ 237 h 242"/>
                <a:gd name="T28" fmla="*/ 59 w 241"/>
                <a:gd name="T29" fmla="*/ 226 h 242"/>
                <a:gd name="T30" fmla="*/ 34 w 241"/>
                <a:gd name="T31" fmla="*/ 206 h 242"/>
                <a:gd name="T32" fmla="*/ 15 w 241"/>
                <a:gd name="T33" fmla="*/ 182 h 242"/>
                <a:gd name="T34" fmla="*/ 3 w 241"/>
                <a:gd name="T35" fmla="*/ 153 h 242"/>
                <a:gd name="T36" fmla="*/ 0 w 241"/>
                <a:gd name="T37" fmla="*/ 122 h 242"/>
                <a:gd name="T38" fmla="*/ 3 w 241"/>
                <a:gd name="T39" fmla="*/ 89 h 242"/>
                <a:gd name="T40" fmla="*/ 15 w 241"/>
                <a:gd name="T41" fmla="*/ 59 h 242"/>
                <a:gd name="T42" fmla="*/ 34 w 241"/>
                <a:gd name="T43" fmla="*/ 36 h 242"/>
                <a:gd name="T44" fmla="*/ 59 w 241"/>
                <a:gd name="T45" fmla="*/ 17 h 242"/>
                <a:gd name="T46" fmla="*/ 88 w 241"/>
                <a:gd name="T47" fmla="*/ 5 h 242"/>
                <a:gd name="T48" fmla="*/ 120 w 241"/>
                <a:gd name="T49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1" h="242">
                  <a:moveTo>
                    <a:pt x="120" y="0"/>
                  </a:moveTo>
                  <a:lnTo>
                    <a:pt x="152" y="5"/>
                  </a:lnTo>
                  <a:lnTo>
                    <a:pt x="180" y="17"/>
                  </a:lnTo>
                  <a:lnTo>
                    <a:pt x="205" y="36"/>
                  </a:lnTo>
                  <a:lnTo>
                    <a:pt x="224" y="59"/>
                  </a:lnTo>
                  <a:lnTo>
                    <a:pt x="237" y="89"/>
                  </a:lnTo>
                  <a:lnTo>
                    <a:pt x="241" y="122"/>
                  </a:lnTo>
                  <a:lnTo>
                    <a:pt x="237" y="153"/>
                  </a:lnTo>
                  <a:lnTo>
                    <a:pt x="224" y="182"/>
                  </a:lnTo>
                  <a:lnTo>
                    <a:pt x="205" y="206"/>
                  </a:lnTo>
                  <a:lnTo>
                    <a:pt x="180" y="226"/>
                  </a:lnTo>
                  <a:lnTo>
                    <a:pt x="152" y="237"/>
                  </a:lnTo>
                  <a:lnTo>
                    <a:pt x="120" y="242"/>
                  </a:lnTo>
                  <a:lnTo>
                    <a:pt x="88" y="237"/>
                  </a:lnTo>
                  <a:lnTo>
                    <a:pt x="59" y="226"/>
                  </a:lnTo>
                  <a:lnTo>
                    <a:pt x="34" y="206"/>
                  </a:lnTo>
                  <a:lnTo>
                    <a:pt x="15" y="182"/>
                  </a:lnTo>
                  <a:lnTo>
                    <a:pt x="3" y="153"/>
                  </a:lnTo>
                  <a:lnTo>
                    <a:pt x="0" y="122"/>
                  </a:lnTo>
                  <a:lnTo>
                    <a:pt x="3" y="89"/>
                  </a:lnTo>
                  <a:lnTo>
                    <a:pt x="15" y="59"/>
                  </a:lnTo>
                  <a:lnTo>
                    <a:pt x="34" y="36"/>
                  </a:lnTo>
                  <a:lnTo>
                    <a:pt x="59" y="17"/>
                  </a:lnTo>
                  <a:lnTo>
                    <a:pt x="88" y="5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5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36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6" name="Slide Number Placeholder 5">
            <a:extLst>
              <a:ext uri="{FF2B5EF4-FFF2-40B4-BE49-F238E27FC236}">
                <a16:creationId xmlns:a16="http://schemas.microsoft.com/office/drawing/2014/main" id="{6AF62179-0FB4-4573-8EC5-8555FD7863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82163" y="6795930"/>
            <a:ext cx="1519554" cy="202253"/>
          </a:xfrm>
        </p:spPr>
        <p:txBody>
          <a:bodyPr/>
          <a:lstStyle>
            <a:lvl1pPr marL="0" algn="r" defTabSz="932418" rtl="0" eaLnBrk="1" latinLnBrk="0" hangingPunct="1">
              <a:defRPr lang="en-NL" sz="816" kern="1200" smtClean="0">
                <a:solidFill>
                  <a:schemeClr val="bg1"/>
                </a:solidFill>
                <a:latin typeface="Segoe UI Semibold" panose="020B0702040204020203" pitchFamily="34" charset="0"/>
                <a:ea typeface="Arial" panose="020B0604020202020204" pitchFamily="34" charset="0"/>
                <a:cs typeface="Segoe UI Semibold" panose="020B0702040204020203" pitchFamily="34" charset="0"/>
              </a:defRPr>
            </a:lvl1pPr>
          </a:lstStyle>
          <a:p>
            <a:pPr>
              <a:defRPr/>
            </a:pPr>
            <a:fld id="{5257B4DB-FF93-49F5-8B48-85D85AAA1E51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F63FFF7-C862-48B9-9ECC-1C97DD15AF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240" y="870531"/>
            <a:ext cx="10993474" cy="344868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NL" sz="1836" dirty="0"/>
            </a:lvl1pPr>
          </a:lstStyle>
          <a:p>
            <a:pPr lvl="0"/>
            <a:r>
              <a:rPr lang="en-US"/>
              <a:t>Click to edit subtitle</a:t>
            </a:r>
            <a:endParaRPr lang="en-NL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F28B6B6-4B56-4B23-891B-0C615E9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240" y="352728"/>
            <a:ext cx="10993473" cy="497603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NL" sz="2856" dirty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marL="0" lvl="0"/>
            <a:r>
              <a:rPr lang="en-US"/>
              <a:t>Click to edit title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1399130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7A4748-7D2C-7B40-BB5E-6EAF11E1E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36CAE7-CA0F-1D43-AC75-0D68CED995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FA40E2-9B4A-8645-BE98-B5A00F6324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CF2464-9E55-6C48-8C32-E7519B142C68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9C9BC1-27C3-0B45-90CE-FAA18DCC1B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E279EE-BA9F-254E-A431-038A6835D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FB7D72-EC64-BD44-8288-21BAA42621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6475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4E503C4-808C-4DE8-B5DA-CA5F68BABF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97317" y="1657286"/>
            <a:ext cx="5260540" cy="459223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x-none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6F3798C1-1CC1-43F0-8719-5A58F5B28F6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35961" y="1657286"/>
            <a:ext cx="5286447" cy="45922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13245995-C2EE-4F17-8A09-D56D26CAA557}"/>
              </a:ext>
            </a:extLst>
          </p:cNvPr>
          <p:cNvSpPr/>
          <p:nvPr userDrawn="1"/>
        </p:nvSpPr>
        <p:spPr>
          <a:xfrm>
            <a:off x="1" y="6735068"/>
            <a:ext cx="12434888" cy="263114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44000">
                <a:srgbClr val="606DB1"/>
              </a:gs>
              <a:gs pos="100000">
                <a:srgbClr val="622781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x-none" sz="1222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3491798-E334-4A38-9593-DCFA51C9A5EA}"/>
              </a:ext>
            </a:extLst>
          </p:cNvPr>
          <p:cNvSpPr/>
          <p:nvPr userDrawn="1"/>
        </p:nvSpPr>
        <p:spPr>
          <a:xfrm>
            <a:off x="11149036" y="6778448"/>
            <a:ext cx="531682" cy="2220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815">
                <a:solidFill>
                  <a:schemeClr val="bg1"/>
                </a:solidFill>
                <a:latin typeface="Segoe UI Semibold" panose="020B0702040204020203" pitchFamily="34" charset="0"/>
                <a:ea typeface="Arial" panose="020B0604020202020204" pitchFamily="34" charset="0"/>
                <a:cs typeface="Segoe UI Semibold" panose="020B0702040204020203" pitchFamily="34" charset="0"/>
              </a:rPr>
              <a:t>© 2018</a:t>
            </a:r>
            <a:endParaRPr lang="x-none" sz="815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7A8D036B-2B29-4B91-A576-C720914ED8A2}"/>
              </a:ext>
            </a:extLst>
          </p:cNvPr>
          <p:cNvGrpSpPr/>
          <p:nvPr userDrawn="1"/>
        </p:nvGrpSpPr>
        <p:grpSpPr>
          <a:xfrm>
            <a:off x="11689567" y="6798354"/>
            <a:ext cx="653803" cy="124910"/>
            <a:chOff x="2568029" y="5626159"/>
            <a:chExt cx="1466886" cy="280254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85FF835-5CBC-42F5-95EF-18DEF07BF6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8050" y="5699355"/>
              <a:ext cx="206865" cy="207058"/>
            </a:xfrm>
            <a:custGeom>
              <a:avLst/>
              <a:gdLst>
                <a:gd name="connsiteX0" fmla="*/ 103290 w 206865"/>
                <a:gd name="connsiteY0" fmla="*/ 52121 h 207058"/>
                <a:gd name="connsiteX1" fmla="*/ 91306 w 206865"/>
                <a:gd name="connsiteY1" fmla="*/ 53260 h 207058"/>
                <a:gd name="connsiteX2" fmla="*/ 80178 w 206865"/>
                <a:gd name="connsiteY2" fmla="*/ 57248 h 207058"/>
                <a:gd name="connsiteX3" fmla="*/ 70762 w 206865"/>
                <a:gd name="connsiteY3" fmla="*/ 63514 h 207058"/>
                <a:gd name="connsiteX4" fmla="*/ 62488 w 206865"/>
                <a:gd name="connsiteY4" fmla="*/ 71488 h 207058"/>
                <a:gd name="connsiteX5" fmla="*/ 56210 w 206865"/>
                <a:gd name="connsiteY5" fmla="*/ 81457 h 207058"/>
                <a:gd name="connsiteX6" fmla="*/ 52501 w 206865"/>
                <a:gd name="connsiteY6" fmla="*/ 92564 h 207058"/>
                <a:gd name="connsiteX7" fmla="*/ 50789 w 206865"/>
                <a:gd name="connsiteY7" fmla="*/ 104527 h 207058"/>
                <a:gd name="connsiteX8" fmla="*/ 52501 w 206865"/>
                <a:gd name="connsiteY8" fmla="*/ 116489 h 207058"/>
                <a:gd name="connsiteX9" fmla="*/ 56210 w 206865"/>
                <a:gd name="connsiteY9" fmla="*/ 127027 h 207058"/>
                <a:gd name="connsiteX10" fmla="*/ 62488 w 206865"/>
                <a:gd name="connsiteY10" fmla="*/ 136995 h 207058"/>
                <a:gd name="connsiteX11" fmla="*/ 70762 w 206865"/>
                <a:gd name="connsiteY11" fmla="*/ 145255 h 207058"/>
                <a:gd name="connsiteX12" fmla="*/ 80178 w 206865"/>
                <a:gd name="connsiteY12" fmla="*/ 151236 h 207058"/>
                <a:gd name="connsiteX13" fmla="*/ 91306 w 206865"/>
                <a:gd name="connsiteY13" fmla="*/ 155223 h 207058"/>
                <a:gd name="connsiteX14" fmla="*/ 103290 w 206865"/>
                <a:gd name="connsiteY14" fmla="*/ 156362 h 207058"/>
                <a:gd name="connsiteX15" fmla="*/ 115274 w 206865"/>
                <a:gd name="connsiteY15" fmla="*/ 155223 h 207058"/>
                <a:gd name="connsiteX16" fmla="*/ 126402 w 206865"/>
                <a:gd name="connsiteY16" fmla="*/ 151236 h 207058"/>
                <a:gd name="connsiteX17" fmla="*/ 136103 w 206865"/>
                <a:gd name="connsiteY17" fmla="*/ 145255 h 207058"/>
                <a:gd name="connsiteX18" fmla="*/ 144093 w 206865"/>
                <a:gd name="connsiteY18" fmla="*/ 136995 h 207058"/>
                <a:gd name="connsiteX19" fmla="*/ 150370 w 206865"/>
                <a:gd name="connsiteY19" fmla="*/ 127027 h 207058"/>
                <a:gd name="connsiteX20" fmla="*/ 154364 w 206865"/>
                <a:gd name="connsiteY20" fmla="*/ 116489 h 207058"/>
                <a:gd name="connsiteX21" fmla="*/ 155791 w 206865"/>
                <a:gd name="connsiteY21" fmla="*/ 104527 h 207058"/>
                <a:gd name="connsiteX22" fmla="*/ 154364 w 206865"/>
                <a:gd name="connsiteY22" fmla="*/ 92564 h 207058"/>
                <a:gd name="connsiteX23" fmla="*/ 150370 w 206865"/>
                <a:gd name="connsiteY23" fmla="*/ 81457 h 207058"/>
                <a:gd name="connsiteX24" fmla="*/ 144093 w 206865"/>
                <a:gd name="connsiteY24" fmla="*/ 71488 h 207058"/>
                <a:gd name="connsiteX25" fmla="*/ 136103 w 206865"/>
                <a:gd name="connsiteY25" fmla="*/ 63514 h 207058"/>
                <a:gd name="connsiteX26" fmla="*/ 126402 w 206865"/>
                <a:gd name="connsiteY26" fmla="*/ 57248 h 207058"/>
                <a:gd name="connsiteX27" fmla="*/ 115274 w 206865"/>
                <a:gd name="connsiteY27" fmla="*/ 53260 h 207058"/>
                <a:gd name="connsiteX28" fmla="*/ 103290 w 206865"/>
                <a:gd name="connsiteY28" fmla="*/ 0 h 207058"/>
                <a:gd name="connsiteX29" fmla="*/ 120124 w 206865"/>
                <a:gd name="connsiteY29" fmla="*/ 1424 h 207058"/>
                <a:gd name="connsiteX30" fmla="*/ 136103 w 206865"/>
                <a:gd name="connsiteY30" fmla="*/ 5412 h 207058"/>
                <a:gd name="connsiteX31" fmla="*/ 150940 w 206865"/>
                <a:gd name="connsiteY31" fmla="*/ 11678 h 207058"/>
                <a:gd name="connsiteX32" fmla="*/ 164636 w 206865"/>
                <a:gd name="connsiteY32" fmla="*/ 19937 h 207058"/>
                <a:gd name="connsiteX33" fmla="*/ 176620 w 206865"/>
                <a:gd name="connsiteY33" fmla="*/ 30190 h 207058"/>
                <a:gd name="connsiteX34" fmla="*/ 186892 w 206865"/>
                <a:gd name="connsiteY34" fmla="*/ 42152 h 207058"/>
                <a:gd name="connsiteX35" fmla="*/ 195452 w 206865"/>
                <a:gd name="connsiteY35" fmla="*/ 56108 h 207058"/>
                <a:gd name="connsiteX36" fmla="*/ 201729 w 206865"/>
                <a:gd name="connsiteY36" fmla="*/ 70634 h 207058"/>
                <a:gd name="connsiteX37" fmla="*/ 205724 w 206865"/>
                <a:gd name="connsiteY37" fmla="*/ 86583 h 207058"/>
                <a:gd name="connsiteX38" fmla="*/ 206865 w 206865"/>
                <a:gd name="connsiteY38" fmla="*/ 103672 h 207058"/>
                <a:gd name="connsiteX39" fmla="*/ 205724 w 206865"/>
                <a:gd name="connsiteY39" fmla="*/ 120476 h 207058"/>
                <a:gd name="connsiteX40" fmla="*/ 201729 w 206865"/>
                <a:gd name="connsiteY40" fmla="*/ 135855 h 207058"/>
                <a:gd name="connsiteX41" fmla="*/ 195452 w 206865"/>
                <a:gd name="connsiteY41" fmla="*/ 151235 h 207058"/>
                <a:gd name="connsiteX42" fmla="*/ 186892 w 206865"/>
                <a:gd name="connsiteY42" fmla="*/ 164337 h 207058"/>
                <a:gd name="connsiteX43" fmla="*/ 176620 w 206865"/>
                <a:gd name="connsiteY43" fmla="*/ 176299 h 207058"/>
                <a:gd name="connsiteX44" fmla="*/ 164636 w 206865"/>
                <a:gd name="connsiteY44" fmla="*/ 187121 h 207058"/>
                <a:gd name="connsiteX45" fmla="*/ 150940 w 206865"/>
                <a:gd name="connsiteY45" fmla="*/ 195381 h 207058"/>
                <a:gd name="connsiteX46" fmla="*/ 136103 w 206865"/>
                <a:gd name="connsiteY46" fmla="*/ 201647 h 207058"/>
                <a:gd name="connsiteX47" fmla="*/ 120124 w 206865"/>
                <a:gd name="connsiteY47" fmla="*/ 205634 h 207058"/>
                <a:gd name="connsiteX48" fmla="*/ 103290 w 206865"/>
                <a:gd name="connsiteY48" fmla="*/ 207058 h 207058"/>
                <a:gd name="connsiteX49" fmla="*/ 86455 w 206865"/>
                <a:gd name="connsiteY49" fmla="*/ 205634 h 207058"/>
                <a:gd name="connsiteX50" fmla="*/ 70762 w 206865"/>
                <a:gd name="connsiteY50" fmla="*/ 201647 h 207058"/>
                <a:gd name="connsiteX51" fmla="*/ 55640 w 206865"/>
                <a:gd name="connsiteY51" fmla="*/ 195381 h 207058"/>
                <a:gd name="connsiteX52" fmla="*/ 42229 w 206865"/>
                <a:gd name="connsiteY52" fmla="*/ 187121 h 207058"/>
                <a:gd name="connsiteX53" fmla="*/ 30245 w 206865"/>
                <a:gd name="connsiteY53" fmla="*/ 176299 h 207058"/>
                <a:gd name="connsiteX54" fmla="*/ 19688 w 206865"/>
                <a:gd name="connsiteY54" fmla="*/ 164337 h 207058"/>
                <a:gd name="connsiteX55" fmla="*/ 11128 w 206865"/>
                <a:gd name="connsiteY55" fmla="*/ 151235 h 207058"/>
                <a:gd name="connsiteX56" fmla="*/ 4851 w 206865"/>
                <a:gd name="connsiteY56" fmla="*/ 135855 h 207058"/>
                <a:gd name="connsiteX57" fmla="*/ 1427 w 206865"/>
                <a:gd name="connsiteY57" fmla="*/ 120476 h 207058"/>
                <a:gd name="connsiteX58" fmla="*/ 0 w 206865"/>
                <a:gd name="connsiteY58" fmla="*/ 103672 h 207058"/>
                <a:gd name="connsiteX59" fmla="*/ 1427 w 206865"/>
                <a:gd name="connsiteY59" fmla="*/ 86583 h 207058"/>
                <a:gd name="connsiteX60" fmla="*/ 4851 w 206865"/>
                <a:gd name="connsiteY60" fmla="*/ 70634 h 207058"/>
                <a:gd name="connsiteX61" fmla="*/ 11128 w 206865"/>
                <a:gd name="connsiteY61" fmla="*/ 56108 h 207058"/>
                <a:gd name="connsiteX62" fmla="*/ 19688 w 206865"/>
                <a:gd name="connsiteY62" fmla="*/ 42152 h 207058"/>
                <a:gd name="connsiteX63" fmla="*/ 30245 w 206865"/>
                <a:gd name="connsiteY63" fmla="*/ 30190 h 207058"/>
                <a:gd name="connsiteX64" fmla="*/ 42229 w 206865"/>
                <a:gd name="connsiteY64" fmla="*/ 19937 h 207058"/>
                <a:gd name="connsiteX65" fmla="*/ 55640 w 206865"/>
                <a:gd name="connsiteY65" fmla="*/ 11678 h 207058"/>
                <a:gd name="connsiteX66" fmla="*/ 70762 w 206865"/>
                <a:gd name="connsiteY66" fmla="*/ 5412 h 207058"/>
                <a:gd name="connsiteX67" fmla="*/ 86455 w 206865"/>
                <a:gd name="connsiteY67" fmla="*/ 1424 h 207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206865" h="207058">
                  <a:moveTo>
                    <a:pt x="103290" y="52121"/>
                  </a:moveTo>
                  <a:lnTo>
                    <a:pt x="91306" y="53260"/>
                  </a:lnTo>
                  <a:lnTo>
                    <a:pt x="80178" y="57248"/>
                  </a:lnTo>
                  <a:lnTo>
                    <a:pt x="70762" y="63514"/>
                  </a:lnTo>
                  <a:lnTo>
                    <a:pt x="62488" y="71488"/>
                  </a:lnTo>
                  <a:lnTo>
                    <a:pt x="56210" y="81457"/>
                  </a:lnTo>
                  <a:lnTo>
                    <a:pt x="52501" y="92564"/>
                  </a:lnTo>
                  <a:lnTo>
                    <a:pt x="50789" y="104527"/>
                  </a:lnTo>
                  <a:lnTo>
                    <a:pt x="52501" y="116489"/>
                  </a:lnTo>
                  <a:lnTo>
                    <a:pt x="56210" y="127027"/>
                  </a:lnTo>
                  <a:lnTo>
                    <a:pt x="62488" y="136995"/>
                  </a:lnTo>
                  <a:lnTo>
                    <a:pt x="70762" y="145255"/>
                  </a:lnTo>
                  <a:lnTo>
                    <a:pt x="80178" y="151236"/>
                  </a:lnTo>
                  <a:lnTo>
                    <a:pt x="91306" y="155223"/>
                  </a:lnTo>
                  <a:lnTo>
                    <a:pt x="103290" y="156362"/>
                  </a:lnTo>
                  <a:lnTo>
                    <a:pt x="115274" y="155223"/>
                  </a:lnTo>
                  <a:lnTo>
                    <a:pt x="126402" y="151236"/>
                  </a:lnTo>
                  <a:lnTo>
                    <a:pt x="136103" y="145255"/>
                  </a:lnTo>
                  <a:lnTo>
                    <a:pt x="144093" y="136995"/>
                  </a:lnTo>
                  <a:lnTo>
                    <a:pt x="150370" y="127027"/>
                  </a:lnTo>
                  <a:lnTo>
                    <a:pt x="154364" y="116489"/>
                  </a:lnTo>
                  <a:lnTo>
                    <a:pt x="155791" y="104527"/>
                  </a:lnTo>
                  <a:lnTo>
                    <a:pt x="154364" y="92564"/>
                  </a:lnTo>
                  <a:lnTo>
                    <a:pt x="150370" y="81457"/>
                  </a:lnTo>
                  <a:lnTo>
                    <a:pt x="144093" y="71488"/>
                  </a:lnTo>
                  <a:lnTo>
                    <a:pt x="136103" y="63514"/>
                  </a:lnTo>
                  <a:lnTo>
                    <a:pt x="126402" y="57248"/>
                  </a:lnTo>
                  <a:lnTo>
                    <a:pt x="115274" y="53260"/>
                  </a:lnTo>
                  <a:close/>
                  <a:moveTo>
                    <a:pt x="103290" y="0"/>
                  </a:moveTo>
                  <a:lnTo>
                    <a:pt x="120124" y="1424"/>
                  </a:lnTo>
                  <a:lnTo>
                    <a:pt x="136103" y="5412"/>
                  </a:lnTo>
                  <a:lnTo>
                    <a:pt x="150940" y="11678"/>
                  </a:lnTo>
                  <a:lnTo>
                    <a:pt x="164636" y="19937"/>
                  </a:lnTo>
                  <a:lnTo>
                    <a:pt x="176620" y="30190"/>
                  </a:lnTo>
                  <a:lnTo>
                    <a:pt x="186892" y="42152"/>
                  </a:lnTo>
                  <a:lnTo>
                    <a:pt x="195452" y="56108"/>
                  </a:lnTo>
                  <a:lnTo>
                    <a:pt x="201729" y="70634"/>
                  </a:lnTo>
                  <a:lnTo>
                    <a:pt x="205724" y="86583"/>
                  </a:lnTo>
                  <a:lnTo>
                    <a:pt x="206865" y="103672"/>
                  </a:lnTo>
                  <a:lnTo>
                    <a:pt x="205724" y="120476"/>
                  </a:lnTo>
                  <a:lnTo>
                    <a:pt x="201729" y="135855"/>
                  </a:lnTo>
                  <a:lnTo>
                    <a:pt x="195452" y="151235"/>
                  </a:lnTo>
                  <a:lnTo>
                    <a:pt x="186892" y="164337"/>
                  </a:lnTo>
                  <a:lnTo>
                    <a:pt x="176620" y="176299"/>
                  </a:lnTo>
                  <a:lnTo>
                    <a:pt x="164636" y="187121"/>
                  </a:lnTo>
                  <a:lnTo>
                    <a:pt x="150940" y="195381"/>
                  </a:lnTo>
                  <a:lnTo>
                    <a:pt x="136103" y="201647"/>
                  </a:lnTo>
                  <a:lnTo>
                    <a:pt x="120124" y="205634"/>
                  </a:lnTo>
                  <a:lnTo>
                    <a:pt x="103290" y="207058"/>
                  </a:lnTo>
                  <a:lnTo>
                    <a:pt x="86455" y="205634"/>
                  </a:lnTo>
                  <a:lnTo>
                    <a:pt x="70762" y="201647"/>
                  </a:lnTo>
                  <a:lnTo>
                    <a:pt x="55640" y="195381"/>
                  </a:lnTo>
                  <a:lnTo>
                    <a:pt x="42229" y="187121"/>
                  </a:lnTo>
                  <a:lnTo>
                    <a:pt x="30245" y="176299"/>
                  </a:lnTo>
                  <a:lnTo>
                    <a:pt x="19688" y="164337"/>
                  </a:lnTo>
                  <a:lnTo>
                    <a:pt x="11128" y="151235"/>
                  </a:lnTo>
                  <a:lnTo>
                    <a:pt x="4851" y="135855"/>
                  </a:lnTo>
                  <a:lnTo>
                    <a:pt x="1427" y="120476"/>
                  </a:lnTo>
                  <a:lnTo>
                    <a:pt x="0" y="103672"/>
                  </a:lnTo>
                  <a:lnTo>
                    <a:pt x="1427" y="86583"/>
                  </a:lnTo>
                  <a:lnTo>
                    <a:pt x="4851" y="70634"/>
                  </a:lnTo>
                  <a:lnTo>
                    <a:pt x="11128" y="56108"/>
                  </a:lnTo>
                  <a:lnTo>
                    <a:pt x="19688" y="42152"/>
                  </a:lnTo>
                  <a:lnTo>
                    <a:pt x="30245" y="30190"/>
                  </a:lnTo>
                  <a:lnTo>
                    <a:pt x="42229" y="19937"/>
                  </a:lnTo>
                  <a:lnTo>
                    <a:pt x="55640" y="11678"/>
                  </a:lnTo>
                  <a:lnTo>
                    <a:pt x="70762" y="5412"/>
                  </a:lnTo>
                  <a:lnTo>
                    <a:pt x="86455" y="1424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nl-NL" sz="1833"/>
            </a:p>
          </p:txBody>
        </p:sp>
        <p:sp>
          <p:nvSpPr>
            <p:cNvPr id="61" name="Freeform 9">
              <a:extLst>
                <a:ext uri="{FF2B5EF4-FFF2-40B4-BE49-F238E27FC236}">
                  <a16:creationId xmlns:a16="http://schemas.microsoft.com/office/drawing/2014/main" id="{5CB018DF-AFA7-46FF-AD4F-EDF4F9CE6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113" y="5703912"/>
              <a:ext cx="99580" cy="199368"/>
            </a:xfrm>
            <a:custGeom>
              <a:avLst/>
              <a:gdLst>
                <a:gd name="T0" fmla="*/ 229 w 349"/>
                <a:gd name="T1" fmla="*/ 0 h 700"/>
                <a:gd name="T2" fmla="*/ 349 w 349"/>
                <a:gd name="T3" fmla="*/ 0 h 700"/>
                <a:gd name="T4" fmla="*/ 349 w 349"/>
                <a:gd name="T5" fmla="*/ 700 h 700"/>
                <a:gd name="T6" fmla="*/ 175 w 349"/>
                <a:gd name="T7" fmla="*/ 700 h 700"/>
                <a:gd name="T8" fmla="*/ 175 w 349"/>
                <a:gd name="T9" fmla="*/ 178 h 700"/>
                <a:gd name="T10" fmla="*/ 36 w 349"/>
                <a:gd name="T11" fmla="*/ 212 h 700"/>
                <a:gd name="T12" fmla="*/ 0 w 349"/>
                <a:gd name="T13" fmla="*/ 69 h 700"/>
                <a:gd name="T14" fmla="*/ 229 w 349"/>
                <a:gd name="T15" fmla="*/ 0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9" h="700">
                  <a:moveTo>
                    <a:pt x="229" y="0"/>
                  </a:moveTo>
                  <a:lnTo>
                    <a:pt x="349" y="0"/>
                  </a:lnTo>
                  <a:lnTo>
                    <a:pt x="349" y="700"/>
                  </a:lnTo>
                  <a:lnTo>
                    <a:pt x="175" y="700"/>
                  </a:lnTo>
                  <a:lnTo>
                    <a:pt x="175" y="178"/>
                  </a:lnTo>
                  <a:lnTo>
                    <a:pt x="36" y="212"/>
                  </a:lnTo>
                  <a:lnTo>
                    <a:pt x="0" y="69"/>
                  </a:lnTo>
                  <a:lnTo>
                    <a:pt x="22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833"/>
            </a:p>
          </p:txBody>
        </p:sp>
        <p:sp>
          <p:nvSpPr>
            <p:cNvPr id="62" name="Freeform 10">
              <a:extLst>
                <a:ext uri="{FF2B5EF4-FFF2-40B4-BE49-F238E27FC236}">
                  <a16:creationId xmlns:a16="http://schemas.microsoft.com/office/drawing/2014/main" id="{4F3EBC07-7A03-4AC1-9617-0B13583EE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1933" y="5757742"/>
              <a:ext cx="117556" cy="117627"/>
            </a:xfrm>
            <a:custGeom>
              <a:avLst/>
              <a:gdLst>
                <a:gd name="T0" fmla="*/ 206 w 412"/>
                <a:gd name="T1" fmla="*/ 0 h 413"/>
                <a:gd name="T2" fmla="*/ 248 w 412"/>
                <a:gd name="T3" fmla="*/ 4 h 413"/>
                <a:gd name="T4" fmla="*/ 287 w 412"/>
                <a:gd name="T5" fmla="*/ 17 h 413"/>
                <a:gd name="T6" fmla="*/ 321 w 412"/>
                <a:gd name="T7" fmla="*/ 35 h 413"/>
                <a:gd name="T8" fmla="*/ 353 w 412"/>
                <a:gd name="T9" fmla="*/ 60 h 413"/>
                <a:gd name="T10" fmla="*/ 378 w 412"/>
                <a:gd name="T11" fmla="*/ 92 h 413"/>
                <a:gd name="T12" fmla="*/ 396 w 412"/>
                <a:gd name="T13" fmla="*/ 126 h 413"/>
                <a:gd name="T14" fmla="*/ 409 w 412"/>
                <a:gd name="T15" fmla="*/ 165 h 413"/>
                <a:gd name="T16" fmla="*/ 412 w 412"/>
                <a:gd name="T17" fmla="*/ 207 h 413"/>
                <a:gd name="T18" fmla="*/ 409 w 412"/>
                <a:gd name="T19" fmla="*/ 248 h 413"/>
                <a:gd name="T20" fmla="*/ 396 w 412"/>
                <a:gd name="T21" fmla="*/ 287 h 413"/>
                <a:gd name="T22" fmla="*/ 378 w 412"/>
                <a:gd name="T23" fmla="*/ 322 h 413"/>
                <a:gd name="T24" fmla="*/ 353 w 412"/>
                <a:gd name="T25" fmla="*/ 352 h 413"/>
                <a:gd name="T26" fmla="*/ 321 w 412"/>
                <a:gd name="T27" fmla="*/ 377 h 413"/>
                <a:gd name="T28" fmla="*/ 287 w 412"/>
                <a:gd name="T29" fmla="*/ 396 h 413"/>
                <a:gd name="T30" fmla="*/ 248 w 412"/>
                <a:gd name="T31" fmla="*/ 408 h 413"/>
                <a:gd name="T32" fmla="*/ 206 w 412"/>
                <a:gd name="T33" fmla="*/ 413 h 413"/>
                <a:gd name="T34" fmla="*/ 164 w 412"/>
                <a:gd name="T35" fmla="*/ 408 h 413"/>
                <a:gd name="T36" fmla="*/ 127 w 412"/>
                <a:gd name="T37" fmla="*/ 396 h 413"/>
                <a:gd name="T38" fmla="*/ 91 w 412"/>
                <a:gd name="T39" fmla="*/ 377 h 413"/>
                <a:gd name="T40" fmla="*/ 61 w 412"/>
                <a:gd name="T41" fmla="*/ 352 h 413"/>
                <a:gd name="T42" fmla="*/ 36 w 412"/>
                <a:gd name="T43" fmla="*/ 322 h 413"/>
                <a:gd name="T44" fmla="*/ 16 w 412"/>
                <a:gd name="T45" fmla="*/ 287 h 413"/>
                <a:gd name="T46" fmla="*/ 5 w 412"/>
                <a:gd name="T47" fmla="*/ 248 h 413"/>
                <a:gd name="T48" fmla="*/ 0 w 412"/>
                <a:gd name="T49" fmla="*/ 207 h 413"/>
                <a:gd name="T50" fmla="*/ 5 w 412"/>
                <a:gd name="T51" fmla="*/ 165 h 413"/>
                <a:gd name="T52" fmla="*/ 16 w 412"/>
                <a:gd name="T53" fmla="*/ 126 h 413"/>
                <a:gd name="T54" fmla="*/ 36 w 412"/>
                <a:gd name="T55" fmla="*/ 92 h 413"/>
                <a:gd name="T56" fmla="*/ 61 w 412"/>
                <a:gd name="T57" fmla="*/ 60 h 413"/>
                <a:gd name="T58" fmla="*/ 91 w 412"/>
                <a:gd name="T59" fmla="*/ 35 h 413"/>
                <a:gd name="T60" fmla="*/ 127 w 412"/>
                <a:gd name="T61" fmla="*/ 17 h 413"/>
                <a:gd name="T62" fmla="*/ 164 w 412"/>
                <a:gd name="T63" fmla="*/ 4 h 413"/>
                <a:gd name="T64" fmla="*/ 206 w 412"/>
                <a:gd name="T65" fmla="*/ 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2" h="413">
                  <a:moveTo>
                    <a:pt x="206" y="0"/>
                  </a:moveTo>
                  <a:lnTo>
                    <a:pt x="248" y="4"/>
                  </a:lnTo>
                  <a:lnTo>
                    <a:pt x="287" y="17"/>
                  </a:lnTo>
                  <a:lnTo>
                    <a:pt x="321" y="35"/>
                  </a:lnTo>
                  <a:lnTo>
                    <a:pt x="353" y="60"/>
                  </a:lnTo>
                  <a:lnTo>
                    <a:pt x="378" y="92"/>
                  </a:lnTo>
                  <a:lnTo>
                    <a:pt x="396" y="126"/>
                  </a:lnTo>
                  <a:lnTo>
                    <a:pt x="409" y="165"/>
                  </a:lnTo>
                  <a:lnTo>
                    <a:pt x="412" y="207"/>
                  </a:lnTo>
                  <a:lnTo>
                    <a:pt x="409" y="248"/>
                  </a:lnTo>
                  <a:lnTo>
                    <a:pt x="396" y="287"/>
                  </a:lnTo>
                  <a:lnTo>
                    <a:pt x="378" y="322"/>
                  </a:lnTo>
                  <a:lnTo>
                    <a:pt x="353" y="352"/>
                  </a:lnTo>
                  <a:lnTo>
                    <a:pt x="321" y="377"/>
                  </a:lnTo>
                  <a:lnTo>
                    <a:pt x="287" y="396"/>
                  </a:lnTo>
                  <a:lnTo>
                    <a:pt x="248" y="408"/>
                  </a:lnTo>
                  <a:lnTo>
                    <a:pt x="206" y="413"/>
                  </a:lnTo>
                  <a:lnTo>
                    <a:pt x="164" y="408"/>
                  </a:lnTo>
                  <a:lnTo>
                    <a:pt x="127" y="396"/>
                  </a:lnTo>
                  <a:lnTo>
                    <a:pt x="91" y="377"/>
                  </a:lnTo>
                  <a:lnTo>
                    <a:pt x="61" y="352"/>
                  </a:lnTo>
                  <a:lnTo>
                    <a:pt x="36" y="322"/>
                  </a:lnTo>
                  <a:lnTo>
                    <a:pt x="16" y="287"/>
                  </a:lnTo>
                  <a:lnTo>
                    <a:pt x="5" y="248"/>
                  </a:lnTo>
                  <a:lnTo>
                    <a:pt x="0" y="207"/>
                  </a:lnTo>
                  <a:lnTo>
                    <a:pt x="5" y="165"/>
                  </a:lnTo>
                  <a:lnTo>
                    <a:pt x="16" y="126"/>
                  </a:lnTo>
                  <a:lnTo>
                    <a:pt x="36" y="92"/>
                  </a:lnTo>
                  <a:lnTo>
                    <a:pt x="61" y="60"/>
                  </a:lnTo>
                  <a:lnTo>
                    <a:pt x="91" y="35"/>
                  </a:lnTo>
                  <a:lnTo>
                    <a:pt x="127" y="17"/>
                  </a:lnTo>
                  <a:lnTo>
                    <a:pt x="164" y="4"/>
                  </a:lnTo>
                  <a:lnTo>
                    <a:pt x="20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833"/>
            </a:p>
          </p:txBody>
        </p:sp>
        <p:sp>
          <p:nvSpPr>
            <p:cNvPr id="63" name="Freeform 11">
              <a:extLst>
                <a:ext uri="{FF2B5EF4-FFF2-40B4-BE49-F238E27FC236}">
                  <a16:creationId xmlns:a16="http://schemas.microsoft.com/office/drawing/2014/main" id="{993D0EE0-017D-427C-B466-7A60CB3D6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3367" y="5757742"/>
              <a:ext cx="117842" cy="117627"/>
            </a:xfrm>
            <a:custGeom>
              <a:avLst/>
              <a:gdLst>
                <a:gd name="T0" fmla="*/ 206 w 413"/>
                <a:gd name="T1" fmla="*/ 0 h 413"/>
                <a:gd name="T2" fmla="*/ 248 w 413"/>
                <a:gd name="T3" fmla="*/ 4 h 413"/>
                <a:gd name="T4" fmla="*/ 287 w 413"/>
                <a:gd name="T5" fmla="*/ 17 h 413"/>
                <a:gd name="T6" fmla="*/ 321 w 413"/>
                <a:gd name="T7" fmla="*/ 35 h 413"/>
                <a:gd name="T8" fmla="*/ 352 w 413"/>
                <a:gd name="T9" fmla="*/ 60 h 413"/>
                <a:gd name="T10" fmla="*/ 377 w 413"/>
                <a:gd name="T11" fmla="*/ 92 h 413"/>
                <a:gd name="T12" fmla="*/ 396 w 413"/>
                <a:gd name="T13" fmla="*/ 126 h 413"/>
                <a:gd name="T14" fmla="*/ 408 w 413"/>
                <a:gd name="T15" fmla="*/ 165 h 413"/>
                <a:gd name="T16" fmla="*/ 413 w 413"/>
                <a:gd name="T17" fmla="*/ 207 h 413"/>
                <a:gd name="T18" fmla="*/ 408 w 413"/>
                <a:gd name="T19" fmla="*/ 248 h 413"/>
                <a:gd name="T20" fmla="*/ 396 w 413"/>
                <a:gd name="T21" fmla="*/ 287 h 413"/>
                <a:gd name="T22" fmla="*/ 377 w 413"/>
                <a:gd name="T23" fmla="*/ 322 h 413"/>
                <a:gd name="T24" fmla="*/ 352 w 413"/>
                <a:gd name="T25" fmla="*/ 352 h 413"/>
                <a:gd name="T26" fmla="*/ 321 w 413"/>
                <a:gd name="T27" fmla="*/ 377 h 413"/>
                <a:gd name="T28" fmla="*/ 287 w 413"/>
                <a:gd name="T29" fmla="*/ 396 h 413"/>
                <a:gd name="T30" fmla="*/ 248 w 413"/>
                <a:gd name="T31" fmla="*/ 408 h 413"/>
                <a:gd name="T32" fmla="*/ 206 w 413"/>
                <a:gd name="T33" fmla="*/ 413 h 413"/>
                <a:gd name="T34" fmla="*/ 165 w 413"/>
                <a:gd name="T35" fmla="*/ 408 h 413"/>
                <a:gd name="T36" fmla="*/ 126 w 413"/>
                <a:gd name="T37" fmla="*/ 396 h 413"/>
                <a:gd name="T38" fmla="*/ 90 w 413"/>
                <a:gd name="T39" fmla="*/ 377 h 413"/>
                <a:gd name="T40" fmla="*/ 61 w 413"/>
                <a:gd name="T41" fmla="*/ 352 h 413"/>
                <a:gd name="T42" fmla="*/ 36 w 413"/>
                <a:gd name="T43" fmla="*/ 322 h 413"/>
                <a:gd name="T44" fmla="*/ 17 w 413"/>
                <a:gd name="T45" fmla="*/ 287 h 413"/>
                <a:gd name="T46" fmla="*/ 5 w 413"/>
                <a:gd name="T47" fmla="*/ 248 h 413"/>
                <a:gd name="T48" fmla="*/ 0 w 413"/>
                <a:gd name="T49" fmla="*/ 207 h 413"/>
                <a:gd name="T50" fmla="*/ 5 w 413"/>
                <a:gd name="T51" fmla="*/ 165 h 413"/>
                <a:gd name="T52" fmla="*/ 17 w 413"/>
                <a:gd name="T53" fmla="*/ 126 h 413"/>
                <a:gd name="T54" fmla="*/ 36 w 413"/>
                <a:gd name="T55" fmla="*/ 92 h 413"/>
                <a:gd name="T56" fmla="*/ 61 w 413"/>
                <a:gd name="T57" fmla="*/ 60 h 413"/>
                <a:gd name="T58" fmla="*/ 90 w 413"/>
                <a:gd name="T59" fmla="*/ 35 h 413"/>
                <a:gd name="T60" fmla="*/ 126 w 413"/>
                <a:gd name="T61" fmla="*/ 17 h 413"/>
                <a:gd name="T62" fmla="*/ 165 w 413"/>
                <a:gd name="T63" fmla="*/ 4 h 413"/>
                <a:gd name="T64" fmla="*/ 206 w 413"/>
                <a:gd name="T65" fmla="*/ 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3" h="413">
                  <a:moveTo>
                    <a:pt x="206" y="0"/>
                  </a:moveTo>
                  <a:lnTo>
                    <a:pt x="248" y="4"/>
                  </a:lnTo>
                  <a:lnTo>
                    <a:pt x="287" y="17"/>
                  </a:lnTo>
                  <a:lnTo>
                    <a:pt x="321" y="35"/>
                  </a:lnTo>
                  <a:lnTo>
                    <a:pt x="352" y="60"/>
                  </a:lnTo>
                  <a:lnTo>
                    <a:pt x="377" y="92"/>
                  </a:lnTo>
                  <a:lnTo>
                    <a:pt x="396" y="126"/>
                  </a:lnTo>
                  <a:lnTo>
                    <a:pt x="408" y="165"/>
                  </a:lnTo>
                  <a:lnTo>
                    <a:pt x="413" y="207"/>
                  </a:lnTo>
                  <a:lnTo>
                    <a:pt x="408" y="248"/>
                  </a:lnTo>
                  <a:lnTo>
                    <a:pt x="396" y="287"/>
                  </a:lnTo>
                  <a:lnTo>
                    <a:pt x="377" y="322"/>
                  </a:lnTo>
                  <a:lnTo>
                    <a:pt x="352" y="352"/>
                  </a:lnTo>
                  <a:lnTo>
                    <a:pt x="321" y="377"/>
                  </a:lnTo>
                  <a:lnTo>
                    <a:pt x="287" y="396"/>
                  </a:lnTo>
                  <a:lnTo>
                    <a:pt x="248" y="408"/>
                  </a:lnTo>
                  <a:lnTo>
                    <a:pt x="206" y="413"/>
                  </a:lnTo>
                  <a:lnTo>
                    <a:pt x="165" y="408"/>
                  </a:lnTo>
                  <a:lnTo>
                    <a:pt x="126" y="396"/>
                  </a:lnTo>
                  <a:lnTo>
                    <a:pt x="90" y="377"/>
                  </a:lnTo>
                  <a:lnTo>
                    <a:pt x="61" y="352"/>
                  </a:lnTo>
                  <a:lnTo>
                    <a:pt x="36" y="322"/>
                  </a:lnTo>
                  <a:lnTo>
                    <a:pt x="17" y="287"/>
                  </a:lnTo>
                  <a:lnTo>
                    <a:pt x="5" y="248"/>
                  </a:lnTo>
                  <a:lnTo>
                    <a:pt x="0" y="207"/>
                  </a:lnTo>
                  <a:lnTo>
                    <a:pt x="5" y="165"/>
                  </a:lnTo>
                  <a:lnTo>
                    <a:pt x="17" y="126"/>
                  </a:lnTo>
                  <a:lnTo>
                    <a:pt x="36" y="92"/>
                  </a:lnTo>
                  <a:lnTo>
                    <a:pt x="61" y="60"/>
                  </a:lnTo>
                  <a:lnTo>
                    <a:pt x="90" y="35"/>
                  </a:lnTo>
                  <a:lnTo>
                    <a:pt x="126" y="17"/>
                  </a:lnTo>
                  <a:lnTo>
                    <a:pt x="165" y="4"/>
                  </a:lnTo>
                  <a:lnTo>
                    <a:pt x="20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833"/>
            </a:p>
          </p:txBody>
        </p:sp>
        <p:sp>
          <p:nvSpPr>
            <p:cNvPr id="64" name="Freeform 12">
              <a:extLst>
                <a:ext uri="{FF2B5EF4-FFF2-40B4-BE49-F238E27FC236}">
                  <a16:creationId xmlns:a16="http://schemas.microsoft.com/office/drawing/2014/main" id="{133567D3-C98C-4431-9B2F-BADDF80BA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724" y="5684260"/>
              <a:ext cx="111279" cy="222153"/>
            </a:xfrm>
            <a:custGeom>
              <a:avLst/>
              <a:gdLst>
                <a:gd name="T0" fmla="*/ 72 w 390"/>
                <a:gd name="T1" fmla="*/ 0 h 780"/>
                <a:gd name="T2" fmla="*/ 246 w 390"/>
                <a:gd name="T3" fmla="*/ 0 h 780"/>
                <a:gd name="T4" fmla="*/ 246 w 390"/>
                <a:gd name="T5" fmla="*/ 158 h 780"/>
                <a:gd name="T6" fmla="*/ 390 w 390"/>
                <a:gd name="T7" fmla="*/ 158 h 780"/>
                <a:gd name="T8" fmla="*/ 390 w 390"/>
                <a:gd name="T9" fmla="*/ 306 h 780"/>
                <a:gd name="T10" fmla="*/ 246 w 390"/>
                <a:gd name="T11" fmla="*/ 306 h 780"/>
                <a:gd name="T12" fmla="*/ 246 w 390"/>
                <a:gd name="T13" fmla="*/ 566 h 780"/>
                <a:gd name="T14" fmla="*/ 248 w 390"/>
                <a:gd name="T15" fmla="*/ 588 h 780"/>
                <a:gd name="T16" fmla="*/ 254 w 390"/>
                <a:gd name="T17" fmla="*/ 605 h 780"/>
                <a:gd name="T18" fmla="*/ 265 w 390"/>
                <a:gd name="T19" fmla="*/ 618 h 780"/>
                <a:gd name="T20" fmla="*/ 281 w 390"/>
                <a:gd name="T21" fmla="*/ 624 h 780"/>
                <a:gd name="T22" fmla="*/ 302 w 390"/>
                <a:gd name="T23" fmla="*/ 627 h 780"/>
                <a:gd name="T24" fmla="*/ 332 w 390"/>
                <a:gd name="T25" fmla="*/ 624 h 780"/>
                <a:gd name="T26" fmla="*/ 362 w 390"/>
                <a:gd name="T27" fmla="*/ 616 h 780"/>
                <a:gd name="T28" fmla="*/ 387 w 390"/>
                <a:gd name="T29" fmla="*/ 605 h 780"/>
                <a:gd name="T30" fmla="*/ 387 w 390"/>
                <a:gd name="T31" fmla="*/ 744 h 780"/>
                <a:gd name="T32" fmla="*/ 359 w 390"/>
                <a:gd name="T33" fmla="*/ 758 h 780"/>
                <a:gd name="T34" fmla="*/ 327 w 390"/>
                <a:gd name="T35" fmla="*/ 771 h 780"/>
                <a:gd name="T36" fmla="*/ 292 w 390"/>
                <a:gd name="T37" fmla="*/ 777 h 780"/>
                <a:gd name="T38" fmla="*/ 251 w 390"/>
                <a:gd name="T39" fmla="*/ 780 h 780"/>
                <a:gd name="T40" fmla="*/ 212 w 390"/>
                <a:gd name="T41" fmla="*/ 775 h 780"/>
                <a:gd name="T42" fmla="*/ 178 w 390"/>
                <a:gd name="T43" fmla="*/ 766 h 780"/>
                <a:gd name="T44" fmla="*/ 148 w 390"/>
                <a:gd name="T45" fmla="*/ 749 h 780"/>
                <a:gd name="T46" fmla="*/ 122 w 390"/>
                <a:gd name="T47" fmla="*/ 727 h 780"/>
                <a:gd name="T48" fmla="*/ 101 w 390"/>
                <a:gd name="T49" fmla="*/ 699 h 780"/>
                <a:gd name="T50" fmla="*/ 86 w 390"/>
                <a:gd name="T51" fmla="*/ 668 h 780"/>
                <a:gd name="T52" fmla="*/ 76 w 390"/>
                <a:gd name="T53" fmla="*/ 633 h 780"/>
                <a:gd name="T54" fmla="*/ 72 w 390"/>
                <a:gd name="T55" fmla="*/ 596 h 780"/>
                <a:gd name="T56" fmla="*/ 72 w 390"/>
                <a:gd name="T57" fmla="*/ 306 h 780"/>
                <a:gd name="T58" fmla="*/ 0 w 390"/>
                <a:gd name="T59" fmla="*/ 306 h 780"/>
                <a:gd name="T60" fmla="*/ 0 w 390"/>
                <a:gd name="T61" fmla="*/ 158 h 780"/>
                <a:gd name="T62" fmla="*/ 72 w 390"/>
                <a:gd name="T63" fmla="*/ 158 h 780"/>
                <a:gd name="T64" fmla="*/ 72 w 390"/>
                <a:gd name="T65" fmla="*/ 0 h 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90" h="780">
                  <a:moveTo>
                    <a:pt x="72" y="0"/>
                  </a:moveTo>
                  <a:lnTo>
                    <a:pt x="246" y="0"/>
                  </a:lnTo>
                  <a:lnTo>
                    <a:pt x="246" y="158"/>
                  </a:lnTo>
                  <a:lnTo>
                    <a:pt x="390" y="158"/>
                  </a:lnTo>
                  <a:lnTo>
                    <a:pt x="390" y="306"/>
                  </a:lnTo>
                  <a:lnTo>
                    <a:pt x="246" y="306"/>
                  </a:lnTo>
                  <a:lnTo>
                    <a:pt x="246" y="566"/>
                  </a:lnTo>
                  <a:lnTo>
                    <a:pt x="248" y="588"/>
                  </a:lnTo>
                  <a:lnTo>
                    <a:pt x="254" y="605"/>
                  </a:lnTo>
                  <a:lnTo>
                    <a:pt x="265" y="618"/>
                  </a:lnTo>
                  <a:lnTo>
                    <a:pt x="281" y="624"/>
                  </a:lnTo>
                  <a:lnTo>
                    <a:pt x="302" y="627"/>
                  </a:lnTo>
                  <a:lnTo>
                    <a:pt x="332" y="624"/>
                  </a:lnTo>
                  <a:lnTo>
                    <a:pt x="362" y="616"/>
                  </a:lnTo>
                  <a:lnTo>
                    <a:pt x="387" y="605"/>
                  </a:lnTo>
                  <a:lnTo>
                    <a:pt x="387" y="744"/>
                  </a:lnTo>
                  <a:lnTo>
                    <a:pt x="359" y="758"/>
                  </a:lnTo>
                  <a:lnTo>
                    <a:pt x="327" y="771"/>
                  </a:lnTo>
                  <a:lnTo>
                    <a:pt x="292" y="777"/>
                  </a:lnTo>
                  <a:lnTo>
                    <a:pt x="251" y="780"/>
                  </a:lnTo>
                  <a:lnTo>
                    <a:pt x="212" y="775"/>
                  </a:lnTo>
                  <a:lnTo>
                    <a:pt x="178" y="766"/>
                  </a:lnTo>
                  <a:lnTo>
                    <a:pt x="148" y="749"/>
                  </a:lnTo>
                  <a:lnTo>
                    <a:pt x="122" y="727"/>
                  </a:lnTo>
                  <a:lnTo>
                    <a:pt x="101" y="699"/>
                  </a:lnTo>
                  <a:lnTo>
                    <a:pt x="86" y="668"/>
                  </a:lnTo>
                  <a:lnTo>
                    <a:pt x="76" y="633"/>
                  </a:lnTo>
                  <a:lnTo>
                    <a:pt x="72" y="596"/>
                  </a:lnTo>
                  <a:lnTo>
                    <a:pt x="72" y="306"/>
                  </a:lnTo>
                  <a:lnTo>
                    <a:pt x="0" y="306"/>
                  </a:lnTo>
                  <a:lnTo>
                    <a:pt x="0" y="158"/>
                  </a:lnTo>
                  <a:lnTo>
                    <a:pt x="72" y="158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833"/>
            </a:p>
          </p:txBody>
        </p:sp>
        <p:sp>
          <p:nvSpPr>
            <p:cNvPr id="65" name="Freeform 13">
              <a:extLst>
                <a:ext uri="{FF2B5EF4-FFF2-40B4-BE49-F238E27FC236}">
                  <a16:creationId xmlns:a16="http://schemas.microsoft.com/office/drawing/2014/main" id="{10B23CB3-8E55-49F2-A54B-B60AFB8E8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0285" y="5725558"/>
              <a:ext cx="159500" cy="177722"/>
            </a:xfrm>
            <a:custGeom>
              <a:avLst/>
              <a:gdLst>
                <a:gd name="T0" fmla="*/ 352 w 559"/>
                <a:gd name="T1" fmla="*/ 0 h 624"/>
                <a:gd name="T2" fmla="*/ 394 w 559"/>
                <a:gd name="T3" fmla="*/ 3 h 624"/>
                <a:gd name="T4" fmla="*/ 432 w 559"/>
                <a:gd name="T5" fmla="*/ 13 h 624"/>
                <a:gd name="T6" fmla="*/ 464 w 559"/>
                <a:gd name="T7" fmla="*/ 28 h 624"/>
                <a:gd name="T8" fmla="*/ 492 w 559"/>
                <a:gd name="T9" fmla="*/ 50 h 624"/>
                <a:gd name="T10" fmla="*/ 517 w 559"/>
                <a:gd name="T11" fmla="*/ 75 h 624"/>
                <a:gd name="T12" fmla="*/ 536 w 559"/>
                <a:gd name="T13" fmla="*/ 106 h 624"/>
                <a:gd name="T14" fmla="*/ 548 w 559"/>
                <a:gd name="T15" fmla="*/ 142 h 624"/>
                <a:gd name="T16" fmla="*/ 558 w 559"/>
                <a:gd name="T17" fmla="*/ 183 h 624"/>
                <a:gd name="T18" fmla="*/ 559 w 559"/>
                <a:gd name="T19" fmla="*/ 228 h 624"/>
                <a:gd name="T20" fmla="*/ 559 w 559"/>
                <a:gd name="T21" fmla="*/ 624 h 624"/>
                <a:gd name="T22" fmla="*/ 386 w 559"/>
                <a:gd name="T23" fmla="*/ 624 h 624"/>
                <a:gd name="T24" fmla="*/ 386 w 559"/>
                <a:gd name="T25" fmla="*/ 283 h 624"/>
                <a:gd name="T26" fmla="*/ 385 w 559"/>
                <a:gd name="T27" fmla="*/ 250 h 624"/>
                <a:gd name="T28" fmla="*/ 377 w 559"/>
                <a:gd name="T29" fmla="*/ 222 h 624"/>
                <a:gd name="T30" fmla="*/ 366 w 559"/>
                <a:gd name="T31" fmla="*/ 200 h 624"/>
                <a:gd name="T32" fmla="*/ 350 w 559"/>
                <a:gd name="T33" fmla="*/ 181 h 624"/>
                <a:gd name="T34" fmla="*/ 332 w 559"/>
                <a:gd name="T35" fmla="*/ 169 h 624"/>
                <a:gd name="T36" fmla="*/ 308 w 559"/>
                <a:gd name="T37" fmla="*/ 161 h 624"/>
                <a:gd name="T38" fmla="*/ 282 w 559"/>
                <a:gd name="T39" fmla="*/ 158 h 624"/>
                <a:gd name="T40" fmla="*/ 255 w 559"/>
                <a:gd name="T41" fmla="*/ 161 h 624"/>
                <a:gd name="T42" fmla="*/ 232 w 559"/>
                <a:gd name="T43" fmla="*/ 169 h 624"/>
                <a:gd name="T44" fmla="*/ 212 w 559"/>
                <a:gd name="T45" fmla="*/ 181 h 624"/>
                <a:gd name="T46" fmla="*/ 194 w 559"/>
                <a:gd name="T47" fmla="*/ 200 h 624"/>
                <a:gd name="T48" fmla="*/ 184 w 559"/>
                <a:gd name="T49" fmla="*/ 222 h 624"/>
                <a:gd name="T50" fmla="*/ 176 w 559"/>
                <a:gd name="T51" fmla="*/ 250 h 624"/>
                <a:gd name="T52" fmla="*/ 173 w 559"/>
                <a:gd name="T53" fmla="*/ 283 h 624"/>
                <a:gd name="T54" fmla="*/ 173 w 559"/>
                <a:gd name="T55" fmla="*/ 624 h 624"/>
                <a:gd name="T56" fmla="*/ 0 w 559"/>
                <a:gd name="T57" fmla="*/ 624 h 624"/>
                <a:gd name="T58" fmla="*/ 0 w 559"/>
                <a:gd name="T59" fmla="*/ 13 h 624"/>
                <a:gd name="T60" fmla="*/ 173 w 559"/>
                <a:gd name="T61" fmla="*/ 13 h 624"/>
                <a:gd name="T62" fmla="*/ 173 w 559"/>
                <a:gd name="T63" fmla="*/ 99 h 624"/>
                <a:gd name="T64" fmla="*/ 191 w 559"/>
                <a:gd name="T65" fmla="*/ 78 h 624"/>
                <a:gd name="T66" fmla="*/ 212 w 559"/>
                <a:gd name="T67" fmla="*/ 56 h 624"/>
                <a:gd name="T68" fmla="*/ 233 w 559"/>
                <a:gd name="T69" fmla="*/ 39 h 624"/>
                <a:gd name="T70" fmla="*/ 257 w 559"/>
                <a:gd name="T71" fmla="*/ 24 h 624"/>
                <a:gd name="T72" fmla="*/ 285 w 559"/>
                <a:gd name="T73" fmla="*/ 11 h 624"/>
                <a:gd name="T74" fmla="*/ 318 w 559"/>
                <a:gd name="T75" fmla="*/ 3 h 624"/>
                <a:gd name="T76" fmla="*/ 352 w 559"/>
                <a:gd name="T77" fmla="*/ 0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59" h="624">
                  <a:moveTo>
                    <a:pt x="352" y="0"/>
                  </a:moveTo>
                  <a:lnTo>
                    <a:pt x="394" y="3"/>
                  </a:lnTo>
                  <a:lnTo>
                    <a:pt x="432" y="13"/>
                  </a:lnTo>
                  <a:lnTo>
                    <a:pt x="464" y="28"/>
                  </a:lnTo>
                  <a:lnTo>
                    <a:pt x="492" y="50"/>
                  </a:lnTo>
                  <a:lnTo>
                    <a:pt x="517" y="75"/>
                  </a:lnTo>
                  <a:lnTo>
                    <a:pt x="536" y="106"/>
                  </a:lnTo>
                  <a:lnTo>
                    <a:pt x="548" y="142"/>
                  </a:lnTo>
                  <a:lnTo>
                    <a:pt x="558" y="183"/>
                  </a:lnTo>
                  <a:lnTo>
                    <a:pt x="559" y="228"/>
                  </a:lnTo>
                  <a:lnTo>
                    <a:pt x="559" y="624"/>
                  </a:lnTo>
                  <a:lnTo>
                    <a:pt x="386" y="624"/>
                  </a:lnTo>
                  <a:lnTo>
                    <a:pt x="386" y="283"/>
                  </a:lnTo>
                  <a:lnTo>
                    <a:pt x="385" y="250"/>
                  </a:lnTo>
                  <a:lnTo>
                    <a:pt x="377" y="222"/>
                  </a:lnTo>
                  <a:lnTo>
                    <a:pt x="366" y="200"/>
                  </a:lnTo>
                  <a:lnTo>
                    <a:pt x="350" y="181"/>
                  </a:lnTo>
                  <a:lnTo>
                    <a:pt x="332" y="169"/>
                  </a:lnTo>
                  <a:lnTo>
                    <a:pt x="308" y="161"/>
                  </a:lnTo>
                  <a:lnTo>
                    <a:pt x="282" y="158"/>
                  </a:lnTo>
                  <a:lnTo>
                    <a:pt x="255" y="161"/>
                  </a:lnTo>
                  <a:lnTo>
                    <a:pt x="232" y="169"/>
                  </a:lnTo>
                  <a:lnTo>
                    <a:pt x="212" y="181"/>
                  </a:lnTo>
                  <a:lnTo>
                    <a:pt x="194" y="200"/>
                  </a:lnTo>
                  <a:lnTo>
                    <a:pt x="184" y="222"/>
                  </a:lnTo>
                  <a:lnTo>
                    <a:pt x="176" y="250"/>
                  </a:lnTo>
                  <a:lnTo>
                    <a:pt x="173" y="283"/>
                  </a:lnTo>
                  <a:lnTo>
                    <a:pt x="173" y="624"/>
                  </a:lnTo>
                  <a:lnTo>
                    <a:pt x="0" y="624"/>
                  </a:lnTo>
                  <a:lnTo>
                    <a:pt x="0" y="13"/>
                  </a:lnTo>
                  <a:lnTo>
                    <a:pt x="173" y="13"/>
                  </a:lnTo>
                  <a:lnTo>
                    <a:pt x="173" y="99"/>
                  </a:lnTo>
                  <a:lnTo>
                    <a:pt x="191" y="78"/>
                  </a:lnTo>
                  <a:lnTo>
                    <a:pt x="212" y="56"/>
                  </a:lnTo>
                  <a:lnTo>
                    <a:pt x="233" y="39"/>
                  </a:lnTo>
                  <a:lnTo>
                    <a:pt x="257" y="24"/>
                  </a:lnTo>
                  <a:lnTo>
                    <a:pt x="285" y="11"/>
                  </a:lnTo>
                  <a:lnTo>
                    <a:pt x="318" y="3"/>
                  </a:lnTo>
                  <a:lnTo>
                    <a:pt x="35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833"/>
            </a:p>
          </p:txBody>
        </p:sp>
        <p:sp>
          <p:nvSpPr>
            <p:cNvPr id="66" name="Rectangle 14">
              <a:extLst>
                <a:ext uri="{FF2B5EF4-FFF2-40B4-BE49-F238E27FC236}">
                  <a16:creationId xmlns:a16="http://schemas.microsoft.com/office/drawing/2014/main" id="{59C26555-1015-4478-9CCA-4059CC8120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4642" y="5729261"/>
              <a:ext cx="49362" cy="17402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833"/>
            </a:p>
          </p:txBody>
        </p:sp>
        <p:sp>
          <p:nvSpPr>
            <p:cNvPr id="67" name="Freeform 15">
              <a:extLst>
                <a:ext uri="{FF2B5EF4-FFF2-40B4-BE49-F238E27FC236}">
                  <a16:creationId xmlns:a16="http://schemas.microsoft.com/office/drawing/2014/main" id="{34A43AA6-AFDB-4462-A658-3CC3A226A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8029" y="5676001"/>
              <a:ext cx="227979" cy="227279"/>
            </a:xfrm>
            <a:custGeom>
              <a:avLst/>
              <a:gdLst>
                <a:gd name="T0" fmla="*/ 0 w 799"/>
                <a:gd name="T1" fmla="*/ 0 h 798"/>
                <a:gd name="T2" fmla="*/ 191 w 799"/>
                <a:gd name="T3" fmla="*/ 0 h 798"/>
                <a:gd name="T4" fmla="*/ 400 w 799"/>
                <a:gd name="T5" fmla="*/ 336 h 798"/>
                <a:gd name="T6" fmla="*/ 610 w 799"/>
                <a:gd name="T7" fmla="*/ 0 h 798"/>
                <a:gd name="T8" fmla="*/ 799 w 799"/>
                <a:gd name="T9" fmla="*/ 0 h 798"/>
                <a:gd name="T10" fmla="*/ 799 w 799"/>
                <a:gd name="T11" fmla="*/ 798 h 798"/>
                <a:gd name="T12" fmla="*/ 624 w 799"/>
                <a:gd name="T13" fmla="*/ 798 h 798"/>
                <a:gd name="T14" fmla="*/ 624 w 799"/>
                <a:gd name="T15" fmla="*/ 277 h 798"/>
                <a:gd name="T16" fmla="*/ 446 w 799"/>
                <a:gd name="T17" fmla="*/ 547 h 798"/>
                <a:gd name="T18" fmla="*/ 348 w 799"/>
                <a:gd name="T19" fmla="*/ 547 h 798"/>
                <a:gd name="T20" fmla="*/ 174 w 799"/>
                <a:gd name="T21" fmla="*/ 280 h 798"/>
                <a:gd name="T22" fmla="*/ 174 w 799"/>
                <a:gd name="T23" fmla="*/ 798 h 798"/>
                <a:gd name="T24" fmla="*/ 0 w 799"/>
                <a:gd name="T25" fmla="*/ 798 h 798"/>
                <a:gd name="T26" fmla="*/ 0 w 799"/>
                <a:gd name="T27" fmla="*/ 0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9" h="798">
                  <a:moveTo>
                    <a:pt x="0" y="0"/>
                  </a:moveTo>
                  <a:lnTo>
                    <a:pt x="191" y="0"/>
                  </a:lnTo>
                  <a:lnTo>
                    <a:pt x="400" y="336"/>
                  </a:lnTo>
                  <a:lnTo>
                    <a:pt x="610" y="0"/>
                  </a:lnTo>
                  <a:lnTo>
                    <a:pt x="799" y="0"/>
                  </a:lnTo>
                  <a:lnTo>
                    <a:pt x="799" y="798"/>
                  </a:lnTo>
                  <a:lnTo>
                    <a:pt x="624" y="798"/>
                  </a:lnTo>
                  <a:lnTo>
                    <a:pt x="624" y="277"/>
                  </a:lnTo>
                  <a:lnTo>
                    <a:pt x="446" y="547"/>
                  </a:lnTo>
                  <a:lnTo>
                    <a:pt x="348" y="547"/>
                  </a:lnTo>
                  <a:lnTo>
                    <a:pt x="174" y="280"/>
                  </a:lnTo>
                  <a:lnTo>
                    <a:pt x="174" y="798"/>
                  </a:lnTo>
                  <a:lnTo>
                    <a:pt x="0" y="7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833"/>
            </a:p>
          </p:txBody>
        </p:sp>
        <p:sp>
          <p:nvSpPr>
            <p:cNvPr id="68" name="Freeform 17">
              <a:extLst>
                <a:ext uri="{FF2B5EF4-FFF2-40B4-BE49-F238E27FC236}">
                  <a16:creationId xmlns:a16="http://schemas.microsoft.com/office/drawing/2014/main" id="{866D5728-EFAF-45A0-B68E-457657BC44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5797" y="5626159"/>
              <a:ext cx="68765" cy="68924"/>
            </a:xfrm>
            <a:custGeom>
              <a:avLst/>
              <a:gdLst>
                <a:gd name="T0" fmla="*/ 120 w 241"/>
                <a:gd name="T1" fmla="*/ 0 h 242"/>
                <a:gd name="T2" fmla="*/ 152 w 241"/>
                <a:gd name="T3" fmla="*/ 5 h 242"/>
                <a:gd name="T4" fmla="*/ 180 w 241"/>
                <a:gd name="T5" fmla="*/ 17 h 242"/>
                <a:gd name="T6" fmla="*/ 205 w 241"/>
                <a:gd name="T7" fmla="*/ 36 h 242"/>
                <a:gd name="T8" fmla="*/ 224 w 241"/>
                <a:gd name="T9" fmla="*/ 59 h 242"/>
                <a:gd name="T10" fmla="*/ 237 w 241"/>
                <a:gd name="T11" fmla="*/ 89 h 242"/>
                <a:gd name="T12" fmla="*/ 241 w 241"/>
                <a:gd name="T13" fmla="*/ 122 h 242"/>
                <a:gd name="T14" fmla="*/ 237 w 241"/>
                <a:gd name="T15" fmla="*/ 153 h 242"/>
                <a:gd name="T16" fmla="*/ 224 w 241"/>
                <a:gd name="T17" fmla="*/ 182 h 242"/>
                <a:gd name="T18" fmla="*/ 205 w 241"/>
                <a:gd name="T19" fmla="*/ 206 h 242"/>
                <a:gd name="T20" fmla="*/ 180 w 241"/>
                <a:gd name="T21" fmla="*/ 226 h 242"/>
                <a:gd name="T22" fmla="*/ 152 w 241"/>
                <a:gd name="T23" fmla="*/ 237 h 242"/>
                <a:gd name="T24" fmla="*/ 120 w 241"/>
                <a:gd name="T25" fmla="*/ 242 h 242"/>
                <a:gd name="T26" fmla="*/ 88 w 241"/>
                <a:gd name="T27" fmla="*/ 237 h 242"/>
                <a:gd name="T28" fmla="*/ 59 w 241"/>
                <a:gd name="T29" fmla="*/ 226 h 242"/>
                <a:gd name="T30" fmla="*/ 34 w 241"/>
                <a:gd name="T31" fmla="*/ 206 h 242"/>
                <a:gd name="T32" fmla="*/ 15 w 241"/>
                <a:gd name="T33" fmla="*/ 182 h 242"/>
                <a:gd name="T34" fmla="*/ 3 w 241"/>
                <a:gd name="T35" fmla="*/ 153 h 242"/>
                <a:gd name="T36" fmla="*/ 0 w 241"/>
                <a:gd name="T37" fmla="*/ 122 h 242"/>
                <a:gd name="T38" fmla="*/ 3 w 241"/>
                <a:gd name="T39" fmla="*/ 89 h 242"/>
                <a:gd name="T40" fmla="*/ 15 w 241"/>
                <a:gd name="T41" fmla="*/ 59 h 242"/>
                <a:gd name="T42" fmla="*/ 34 w 241"/>
                <a:gd name="T43" fmla="*/ 36 h 242"/>
                <a:gd name="T44" fmla="*/ 59 w 241"/>
                <a:gd name="T45" fmla="*/ 17 h 242"/>
                <a:gd name="T46" fmla="*/ 88 w 241"/>
                <a:gd name="T47" fmla="*/ 5 h 242"/>
                <a:gd name="T48" fmla="*/ 120 w 241"/>
                <a:gd name="T49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1" h="242">
                  <a:moveTo>
                    <a:pt x="120" y="0"/>
                  </a:moveTo>
                  <a:lnTo>
                    <a:pt x="152" y="5"/>
                  </a:lnTo>
                  <a:lnTo>
                    <a:pt x="180" y="17"/>
                  </a:lnTo>
                  <a:lnTo>
                    <a:pt x="205" y="36"/>
                  </a:lnTo>
                  <a:lnTo>
                    <a:pt x="224" y="59"/>
                  </a:lnTo>
                  <a:lnTo>
                    <a:pt x="237" y="89"/>
                  </a:lnTo>
                  <a:lnTo>
                    <a:pt x="241" y="122"/>
                  </a:lnTo>
                  <a:lnTo>
                    <a:pt x="237" y="153"/>
                  </a:lnTo>
                  <a:lnTo>
                    <a:pt x="224" y="182"/>
                  </a:lnTo>
                  <a:lnTo>
                    <a:pt x="205" y="206"/>
                  </a:lnTo>
                  <a:lnTo>
                    <a:pt x="180" y="226"/>
                  </a:lnTo>
                  <a:lnTo>
                    <a:pt x="152" y="237"/>
                  </a:lnTo>
                  <a:lnTo>
                    <a:pt x="120" y="242"/>
                  </a:lnTo>
                  <a:lnTo>
                    <a:pt x="88" y="237"/>
                  </a:lnTo>
                  <a:lnTo>
                    <a:pt x="59" y="226"/>
                  </a:lnTo>
                  <a:lnTo>
                    <a:pt x="34" y="206"/>
                  </a:lnTo>
                  <a:lnTo>
                    <a:pt x="15" y="182"/>
                  </a:lnTo>
                  <a:lnTo>
                    <a:pt x="3" y="153"/>
                  </a:lnTo>
                  <a:lnTo>
                    <a:pt x="0" y="122"/>
                  </a:lnTo>
                  <a:lnTo>
                    <a:pt x="3" y="89"/>
                  </a:lnTo>
                  <a:lnTo>
                    <a:pt x="15" y="59"/>
                  </a:lnTo>
                  <a:lnTo>
                    <a:pt x="34" y="36"/>
                  </a:lnTo>
                  <a:lnTo>
                    <a:pt x="59" y="17"/>
                  </a:lnTo>
                  <a:lnTo>
                    <a:pt x="88" y="5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833"/>
            </a:p>
          </p:txBody>
        </p:sp>
      </p:grpSp>
      <p:sp>
        <p:nvSpPr>
          <p:cNvPr id="69" name="Slide Number Placeholder 5">
            <a:extLst>
              <a:ext uri="{FF2B5EF4-FFF2-40B4-BE49-F238E27FC236}">
                <a16:creationId xmlns:a16="http://schemas.microsoft.com/office/drawing/2014/main" id="{38C59638-8373-43D5-A2FF-1208BE255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82163" y="6795931"/>
            <a:ext cx="1519554" cy="202253"/>
          </a:xfrm>
        </p:spPr>
        <p:txBody>
          <a:bodyPr/>
          <a:lstStyle>
            <a:lvl1pPr marL="0" algn="r" defTabSz="930918" rtl="0" eaLnBrk="1" latinLnBrk="0" hangingPunct="1">
              <a:defRPr lang="x-none" sz="815" kern="1200" smtClean="0">
                <a:solidFill>
                  <a:schemeClr val="bg1"/>
                </a:solidFill>
                <a:latin typeface="Segoe UI Semibold" panose="020B0702040204020203" pitchFamily="34" charset="0"/>
                <a:ea typeface="Arial" panose="020B0604020202020204" pitchFamily="34" charset="0"/>
                <a:cs typeface="Segoe UI Semibold" panose="020B0702040204020203" pitchFamily="34" charset="0"/>
              </a:defRPr>
            </a:lvl1pPr>
          </a:lstStyle>
          <a:p>
            <a:fld id="{5257B4DB-FF93-49F5-8B48-85D85AAA1E51}" type="slidenum">
              <a:rPr lang="x-none" smtClean="0"/>
              <a:pPr/>
              <a:t>‹nr.›</a:t>
            </a:fld>
            <a:endParaRPr lang="x-none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800D005B-26EF-4956-B4FB-2804722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7317" y="622289"/>
            <a:ext cx="10993473" cy="554368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x-none" sz="3258" dirty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marL="0" lvl="0"/>
            <a:r>
              <a:rPr lang="en-US"/>
              <a:t>Click to edit title</a:t>
            </a:r>
            <a:endParaRPr lang="x-none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1AEC9BAA-389B-4C1E-90F5-938503D7B5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7317" y="1203001"/>
            <a:ext cx="10993474" cy="344868"/>
          </a:xfrm>
        </p:spPr>
        <p:txBody>
          <a:bodyPr vert="horz" lIns="91440" tIns="45720" rIns="91440" bIns="45720" rtlCol="0">
            <a:normAutofit lnSpcReduction="10000"/>
          </a:bodyPr>
          <a:lstStyle>
            <a:lvl1pPr marL="0" indent="0">
              <a:buNone/>
              <a:defRPr lang="x-none" dirty="0"/>
            </a:lvl1pPr>
          </a:lstStyle>
          <a:p>
            <a:pPr lvl="0"/>
            <a:r>
              <a:rPr lang="en-US"/>
              <a:t>Click to edit subtitle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7153616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333" y="-16104"/>
            <a:ext cx="12426950" cy="6996952"/>
          </a:xfrm>
          <a:prstGeom prst="rect">
            <a:avLst/>
          </a:prstGeom>
          <a:solidFill>
            <a:srgbClr val="E82120"/>
          </a:solidFill>
        </p:spPr>
      </p:pic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171" y="6240964"/>
            <a:ext cx="1278347" cy="274137"/>
          </a:xfrm>
          <a:prstGeom prst="rect">
            <a:avLst/>
          </a:prstGeom>
        </p:spPr>
      </p:pic>
      <p:sp>
        <p:nvSpPr>
          <p:cNvPr id="113" name="Freeform 6"/>
          <p:cNvSpPr>
            <a:spLocks/>
          </p:cNvSpPr>
          <p:nvPr userDrawn="1"/>
        </p:nvSpPr>
        <p:spPr bwMode="auto">
          <a:xfrm>
            <a:off x="8601566" y="6180139"/>
            <a:ext cx="4762" cy="4763"/>
          </a:xfrm>
          <a:custGeom>
            <a:avLst/>
            <a:gdLst>
              <a:gd name="T0" fmla="*/ 1 w 1"/>
              <a:gd name="T1" fmla="*/ 0 h 1"/>
              <a:gd name="T2" fmla="*/ 1 w 1"/>
              <a:gd name="T3" fmla="*/ 1 h 1"/>
              <a:gd name="T4" fmla="*/ 1 w 1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1">
                <a:moveTo>
                  <a:pt x="1" y="0"/>
                </a:moveTo>
                <a:cubicBezTo>
                  <a:pt x="0" y="0"/>
                  <a:pt x="1" y="0"/>
                  <a:pt x="1" y="1"/>
                </a:cubicBezTo>
                <a:cubicBezTo>
                  <a:pt x="1" y="0"/>
                  <a:pt x="1" y="0"/>
                  <a:pt x="1" y="0"/>
                </a:cubicBezTo>
                <a:close/>
              </a:path>
            </a:pathLst>
          </a:custGeom>
          <a:solidFill>
            <a:srgbClr val="A8322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14" name="Freeform 19"/>
          <p:cNvSpPr>
            <a:spLocks/>
          </p:cNvSpPr>
          <p:nvPr userDrawn="1"/>
        </p:nvSpPr>
        <p:spPr bwMode="auto">
          <a:xfrm>
            <a:off x="8569820" y="5738814"/>
            <a:ext cx="4762" cy="4763"/>
          </a:xfrm>
          <a:custGeom>
            <a:avLst/>
            <a:gdLst>
              <a:gd name="T0" fmla="*/ 1 w 1"/>
              <a:gd name="T1" fmla="*/ 0 h 1"/>
              <a:gd name="T2" fmla="*/ 1 w 1"/>
              <a:gd name="T3" fmla="*/ 1 h 1"/>
              <a:gd name="T4" fmla="*/ 1 w 1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1">
                <a:moveTo>
                  <a:pt x="1" y="0"/>
                </a:moveTo>
                <a:cubicBezTo>
                  <a:pt x="0" y="0"/>
                  <a:pt x="1" y="0"/>
                  <a:pt x="1" y="1"/>
                </a:cubicBezTo>
                <a:cubicBezTo>
                  <a:pt x="1" y="0"/>
                  <a:pt x="1" y="0"/>
                  <a:pt x="1" y="0"/>
                </a:cubicBezTo>
                <a:close/>
              </a:path>
            </a:pathLst>
          </a:custGeom>
          <a:solidFill>
            <a:srgbClr val="A8322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pic>
        <p:nvPicPr>
          <p:cNvPr id="115" name="Picture 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10609921" y="6225824"/>
            <a:ext cx="1367825" cy="289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9048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422638" cy="6994524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171" y="6240964"/>
            <a:ext cx="1278347" cy="27413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457142" y="2125678"/>
            <a:ext cx="8960294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142" y="3955787"/>
            <a:ext cx="7131728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9" name="Picture 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10609921" y="6225824"/>
            <a:ext cx="1367825" cy="289276"/>
          </a:xfrm>
          <a:prstGeom prst="rect">
            <a:avLst/>
          </a:prstGeom>
        </p:spPr>
      </p:pic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9188895" y="791198"/>
            <a:ext cx="2742850" cy="572464"/>
          </a:xfrm>
        </p:spPr>
        <p:txBody>
          <a:bodyPr lIns="182880" tIns="146304" rIns="182880" bIns="146304" anchor="b"/>
          <a:lstStyle>
            <a:lvl1pPr marL="0" indent="0" algn="r">
              <a:buNone/>
              <a:defRPr sz="2000">
                <a:gradFill>
                  <a:gsLst>
                    <a:gs pos="14644">
                      <a:schemeClr val="tx1"/>
                    </a:gs>
                    <a:gs pos="37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 marL="342866" indent="0">
              <a:buNone/>
              <a:defRPr/>
            </a:lvl2pPr>
            <a:lvl3pPr marL="571443" indent="0">
              <a:buNone/>
              <a:defRPr/>
            </a:lvl3pPr>
            <a:lvl4pPr marL="800020" indent="0">
              <a:buNone/>
              <a:defRPr/>
            </a:lvl4pPr>
            <a:lvl5pPr marL="1028597" indent="0">
              <a:buNone/>
              <a:defRPr/>
            </a:lvl5pPr>
          </a:lstStyle>
          <a:p>
            <a:pPr lvl="0"/>
            <a:r>
              <a:rPr lang="en-US"/>
              <a:t>#hashtag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731723" y="475557"/>
            <a:ext cx="3200023" cy="572464"/>
          </a:xfrm>
        </p:spPr>
        <p:txBody>
          <a:bodyPr lIns="182880" tIns="146304" rIns="182880" bIns="146304" anchor="t"/>
          <a:lstStyle>
            <a:lvl1pPr marL="0" indent="0" algn="r">
              <a:buNone/>
              <a:defRPr sz="2000" baseline="0">
                <a:gradFill>
                  <a:gsLst>
                    <a:gs pos="90377">
                      <a:srgbClr val="F8F8F8"/>
                    </a:gs>
                    <a:gs pos="72000">
                      <a:srgbClr val="F8F8F8"/>
                    </a:gs>
                  </a:gsLst>
                  <a:lin ang="5400000" scaled="0"/>
                </a:gradFill>
                <a:latin typeface="+mn-lt"/>
              </a:defRPr>
            </a:lvl1pPr>
            <a:lvl2pPr marL="342866" indent="0">
              <a:buNone/>
              <a:defRPr/>
            </a:lvl2pPr>
            <a:lvl3pPr marL="571443" indent="0">
              <a:buNone/>
              <a:defRPr/>
            </a:lvl3pPr>
            <a:lvl4pPr marL="800020" indent="0">
              <a:buNone/>
              <a:defRPr/>
            </a:lvl4pPr>
            <a:lvl5pPr marL="1028597" indent="0">
              <a:buNone/>
              <a:defRPr/>
            </a:lvl5pPr>
          </a:lstStyle>
          <a:p>
            <a:pPr lvl="0"/>
            <a:r>
              <a:rPr lang="en-US"/>
              <a:t>Twitter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0320" y="565132"/>
            <a:ext cx="421286" cy="42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561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03" y="1212851"/>
            <a:ext cx="11885683" cy="209288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342866" indent="-342866">
              <a:buFont typeface="Arial" charset="0"/>
              <a:buChar char="•"/>
              <a:defRPr sz="2400"/>
            </a:lvl2pPr>
            <a:lvl3pPr marL="571443" indent="-342866">
              <a:buFont typeface="Arial" charset="0"/>
              <a:buChar char="•"/>
              <a:defRPr/>
            </a:lvl3pPr>
            <a:lvl4pPr marL="742876" indent="-285721">
              <a:buFont typeface="Arial" charset="0"/>
              <a:buChar char="•"/>
              <a:defRPr/>
            </a:lvl4pPr>
            <a:lvl5pPr marL="971453" indent="-285721">
              <a:buFont typeface="Arial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675070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03" y="1212851"/>
            <a:ext cx="11885683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2298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04" y="1212850"/>
            <a:ext cx="5485699" cy="1982081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400"/>
            </a:lvl2pPr>
            <a:lvl3pPr marL="231752" indent="0">
              <a:buNone/>
              <a:tabLst/>
              <a:defRPr sz="2000"/>
            </a:lvl3pPr>
            <a:lvl4pPr marL="460329" indent="0">
              <a:buNone/>
              <a:defRPr/>
            </a:lvl4pPr>
            <a:lvl5pPr marL="68573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4588" y="1212850"/>
            <a:ext cx="5485699" cy="1982081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400"/>
            </a:lvl2pPr>
            <a:lvl3pPr marL="231752" indent="0">
              <a:buNone/>
              <a:tabLst/>
              <a:defRPr sz="2000"/>
            </a:lvl3pPr>
            <a:lvl4pPr marL="460329" indent="0">
              <a:buNone/>
              <a:defRPr/>
            </a:lvl4pPr>
            <a:lvl5pPr marL="68573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607066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04" y="1212850"/>
            <a:ext cx="5485699" cy="2425279"/>
          </a:xfrm>
        </p:spPr>
        <p:txBody>
          <a:bodyPr wrap="square">
            <a:spAutoFit/>
          </a:bodyPr>
          <a:lstStyle>
            <a:lvl1pPr marL="287309" indent="-287309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13" indent="-233172">
              <a:defRPr sz="2400"/>
            </a:lvl2pPr>
            <a:lvl3pPr marL="699515" indent="-168402">
              <a:tabLst/>
              <a:defRPr sz="2000"/>
            </a:lvl3pPr>
            <a:lvl4pPr marL="880870" indent="-181356">
              <a:defRPr/>
            </a:lvl4pPr>
            <a:lvl5pPr marL="1049272" indent="-168402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4588" y="1212850"/>
            <a:ext cx="5485699" cy="2425279"/>
          </a:xfrm>
        </p:spPr>
        <p:txBody>
          <a:bodyPr wrap="square">
            <a:spAutoFit/>
          </a:bodyPr>
          <a:lstStyle>
            <a:lvl1pPr marL="287309" indent="-287309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13" indent="-233172">
              <a:defRPr sz="2400"/>
            </a:lvl2pPr>
            <a:lvl3pPr marL="699515" indent="-168402">
              <a:tabLst/>
              <a:defRPr sz="2000"/>
            </a:lvl3pPr>
            <a:lvl4pPr marL="880870" indent="-181356">
              <a:defRPr/>
            </a:lvl4pPr>
            <a:lvl5pPr marL="1049272" indent="-168402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73212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01115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171" y="6240964"/>
            <a:ext cx="1278347" cy="274137"/>
          </a:xfrm>
          <a:prstGeom prst="rect">
            <a:avLst/>
          </a:prstGeom>
        </p:spPr>
      </p:pic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19020" y="6225824"/>
            <a:ext cx="1358727" cy="2921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57142" y="2125678"/>
            <a:ext cx="8960294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solidFill>
                  <a:srgbClr val="011690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142" y="3955787"/>
            <a:ext cx="7131728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rgbClr val="011690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9188895" y="791198"/>
            <a:ext cx="2742850" cy="572464"/>
          </a:xfrm>
        </p:spPr>
        <p:txBody>
          <a:bodyPr lIns="182880" tIns="146304" rIns="182880" bIns="146304" anchor="b"/>
          <a:lstStyle>
            <a:lvl1pPr marL="0" indent="0" algn="r">
              <a:buNone/>
              <a:defRPr sz="2000">
                <a:solidFill>
                  <a:srgbClr val="011690"/>
                </a:solidFill>
                <a:latin typeface="+mn-lt"/>
              </a:defRPr>
            </a:lvl1pPr>
            <a:lvl2pPr marL="342866" indent="0">
              <a:buNone/>
              <a:defRPr/>
            </a:lvl2pPr>
            <a:lvl3pPr marL="571443" indent="0">
              <a:buNone/>
              <a:defRPr/>
            </a:lvl3pPr>
            <a:lvl4pPr marL="800020" indent="0">
              <a:buNone/>
              <a:defRPr/>
            </a:lvl4pPr>
            <a:lvl5pPr marL="1028597" indent="0">
              <a:buNone/>
              <a:defRPr/>
            </a:lvl5pPr>
          </a:lstStyle>
          <a:p>
            <a:pPr lvl="0"/>
            <a:r>
              <a:rPr lang="en-US"/>
              <a:t>#hashtag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731723" y="475557"/>
            <a:ext cx="3200023" cy="572464"/>
          </a:xfrm>
        </p:spPr>
        <p:txBody>
          <a:bodyPr lIns="182880" tIns="146304" rIns="182880" bIns="146304" anchor="t"/>
          <a:lstStyle>
            <a:lvl1pPr marL="0" indent="0" algn="r">
              <a:buNone/>
              <a:defRPr sz="2000" baseline="0">
                <a:solidFill>
                  <a:srgbClr val="011690"/>
                </a:solidFill>
                <a:latin typeface="+mn-lt"/>
              </a:defRPr>
            </a:lvl1pPr>
            <a:lvl2pPr marL="342866" indent="0">
              <a:buNone/>
              <a:defRPr/>
            </a:lvl2pPr>
            <a:lvl3pPr marL="571443" indent="0">
              <a:buNone/>
              <a:defRPr/>
            </a:lvl3pPr>
            <a:lvl4pPr marL="800020" indent="0">
              <a:buNone/>
              <a:defRPr/>
            </a:lvl4pPr>
            <a:lvl5pPr marL="1028597" indent="0">
              <a:buNone/>
              <a:defRPr/>
            </a:lvl5pPr>
          </a:lstStyle>
          <a:p>
            <a:pPr lvl="0"/>
            <a:r>
              <a:rPr lang="en-US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16371554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01295" y="2963863"/>
            <a:ext cx="10234660" cy="91757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51648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4" y="1209973"/>
            <a:ext cx="4570695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9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04" y="3954463"/>
            <a:ext cx="4571417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"/>
          <a:stretch/>
        </p:blipFill>
        <p:spPr>
          <a:xfrm>
            <a:off x="5302449" y="447"/>
            <a:ext cx="7130850" cy="6999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335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4" y="1209973"/>
            <a:ext cx="4570695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9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Video tit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03171" y="1"/>
            <a:ext cx="7133302" cy="6999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811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3" y="2125662"/>
            <a:ext cx="11885683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081740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4" y="1241427"/>
            <a:ext cx="54856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031" y="1"/>
            <a:ext cx="6215857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823501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4888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3" tIns="46633" rIns="46633" bIns="466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379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03" y="1221158"/>
            <a:ext cx="11885682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1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54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8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8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12139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03" y="6294477"/>
            <a:ext cx="11885682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7" tIns="146285" rIns="182857" bIns="146285" numCol="1" anchor="t" anchorCtr="0" compatLnSpc="1">
            <a:prstTxWarp prst="textNoShape">
              <a:avLst/>
            </a:prstTxWarp>
            <a:spAutoFit/>
          </a:bodyPr>
          <a:lstStyle/>
          <a:p>
            <a:pPr defTabSz="932197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sp>
        <p:nvSpPr>
          <p:cNvPr id="6" name="Freeform 6"/>
          <p:cNvSpPr>
            <a:spLocks/>
          </p:cNvSpPr>
          <p:nvPr userDrawn="1"/>
        </p:nvSpPr>
        <p:spPr bwMode="auto">
          <a:xfrm>
            <a:off x="8601566" y="6180139"/>
            <a:ext cx="4762" cy="4763"/>
          </a:xfrm>
          <a:custGeom>
            <a:avLst/>
            <a:gdLst>
              <a:gd name="T0" fmla="*/ 1 w 1"/>
              <a:gd name="T1" fmla="*/ 0 h 1"/>
              <a:gd name="T2" fmla="*/ 1 w 1"/>
              <a:gd name="T3" fmla="*/ 1 h 1"/>
              <a:gd name="T4" fmla="*/ 1 w 1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1">
                <a:moveTo>
                  <a:pt x="1" y="0"/>
                </a:moveTo>
                <a:cubicBezTo>
                  <a:pt x="0" y="0"/>
                  <a:pt x="1" y="0"/>
                  <a:pt x="1" y="1"/>
                </a:cubicBezTo>
                <a:cubicBezTo>
                  <a:pt x="1" y="0"/>
                  <a:pt x="1" y="0"/>
                  <a:pt x="1" y="0"/>
                </a:cubicBezTo>
                <a:close/>
              </a:path>
            </a:pathLst>
          </a:custGeom>
          <a:solidFill>
            <a:srgbClr val="A8322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7" name="Freeform 19"/>
          <p:cNvSpPr>
            <a:spLocks/>
          </p:cNvSpPr>
          <p:nvPr userDrawn="1"/>
        </p:nvSpPr>
        <p:spPr bwMode="auto">
          <a:xfrm>
            <a:off x="8569820" y="5738814"/>
            <a:ext cx="4762" cy="4763"/>
          </a:xfrm>
          <a:custGeom>
            <a:avLst/>
            <a:gdLst>
              <a:gd name="T0" fmla="*/ 1 w 1"/>
              <a:gd name="T1" fmla="*/ 0 h 1"/>
              <a:gd name="T2" fmla="*/ 1 w 1"/>
              <a:gd name="T3" fmla="*/ 1 h 1"/>
              <a:gd name="T4" fmla="*/ 1 w 1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1">
                <a:moveTo>
                  <a:pt x="1" y="0"/>
                </a:moveTo>
                <a:cubicBezTo>
                  <a:pt x="0" y="0"/>
                  <a:pt x="1" y="0"/>
                  <a:pt x="1" y="1"/>
                </a:cubicBezTo>
                <a:cubicBezTo>
                  <a:pt x="1" y="0"/>
                  <a:pt x="1" y="0"/>
                  <a:pt x="1" y="0"/>
                </a:cubicBezTo>
                <a:close/>
              </a:path>
            </a:pathLst>
          </a:custGeom>
          <a:solidFill>
            <a:srgbClr val="A8322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10609921" y="6225824"/>
            <a:ext cx="1367825" cy="289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39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457142" y="1703292"/>
            <a:ext cx="11520605" cy="2443746"/>
          </a:xfrm>
          <a:prstGeom prst="rect">
            <a:avLst/>
          </a:prstGeom>
        </p:spPr>
        <p:txBody>
          <a:bodyPr/>
          <a:lstStyle>
            <a:lvl1pPr marL="290484" indent="-290484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443" indent="-280960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927" indent="-290484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504" indent="-22857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081" indent="-22857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4889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>
          <a:xfrm>
            <a:off x="457178" y="479425"/>
            <a:ext cx="11520568" cy="733424"/>
          </a:xfrm>
        </p:spPr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2391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k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084" y="466302"/>
            <a:ext cx="11504720" cy="932603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nl-NL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5084" y="1748290"/>
            <a:ext cx="11504720" cy="10710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ACBA47-91FC-4F0F-98EF-AF8B449ABA17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Sogeti PowerPoint Referentie 2014</a:t>
            </a:r>
          </a:p>
        </p:txBody>
      </p:sp>
    </p:spTree>
    <p:extLst>
      <p:ext uri="{BB962C8B-B14F-4D97-AF65-F5344CB8AC3E}">
        <p14:creationId xmlns:p14="http://schemas.microsoft.com/office/powerpoint/2010/main" val="19433344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422639" cy="6994525"/>
          </a:xfrm>
          <a:prstGeom prst="rect">
            <a:avLst/>
          </a:prstGeom>
        </p:spPr>
      </p:pic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171" y="6240964"/>
            <a:ext cx="1278347" cy="274137"/>
          </a:xfrm>
          <a:prstGeom prst="rect">
            <a:avLst/>
          </a:prstGeom>
        </p:spPr>
      </p:pic>
      <p:sp>
        <p:nvSpPr>
          <p:cNvPr id="113" name="Freeform 6"/>
          <p:cNvSpPr>
            <a:spLocks/>
          </p:cNvSpPr>
          <p:nvPr userDrawn="1"/>
        </p:nvSpPr>
        <p:spPr bwMode="auto">
          <a:xfrm>
            <a:off x="8601566" y="6180139"/>
            <a:ext cx="4762" cy="4763"/>
          </a:xfrm>
          <a:custGeom>
            <a:avLst/>
            <a:gdLst>
              <a:gd name="T0" fmla="*/ 1 w 1"/>
              <a:gd name="T1" fmla="*/ 0 h 1"/>
              <a:gd name="T2" fmla="*/ 1 w 1"/>
              <a:gd name="T3" fmla="*/ 1 h 1"/>
              <a:gd name="T4" fmla="*/ 1 w 1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1">
                <a:moveTo>
                  <a:pt x="1" y="0"/>
                </a:moveTo>
                <a:cubicBezTo>
                  <a:pt x="0" y="0"/>
                  <a:pt x="1" y="0"/>
                  <a:pt x="1" y="1"/>
                </a:cubicBezTo>
                <a:cubicBezTo>
                  <a:pt x="1" y="0"/>
                  <a:pt x="1" y="0"/>
                  <a:pt x="1" y="0"/>
                </a:cubicBezTo>
                <a:close/>
              </a:path>
            </a:pathLst>
          </a:custGeom>
          <a:solidFill>
            <a:srgbClr val="A8322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14" name="Freeform 19"/>
          <p:cNvSpPr>
            <a:spLocks/>
          </p:cNvSpPr>
          <p:nvPr userDrawn="1"/>
        </p:nvSpPr>
        <p:spPr bwMode="auto">
          <a:xfrm>
            <a:off x="8569820" y="5738814"/>
            <a:ext cx="4762" cy="4763"/>
          </a:xfrm>
          <a:custGeom>
            <a:avLst/>
            <a:gdLst>
              <a:gd name="T0" fmla="*/ 1 w 1"/>
              <a:gd name="T1" fmla="*/ 0 h 1"/>
              <a:gd name="T2" fmla="*/ 1 w 1"/>
              <a:gd name="T3" fmla="*/ 1 h 1"/>
              <a:gd name="T4" fmla="*/ 1 w 1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1">
                <a:moveTo>
                  <a:pt x="1" y="0"/>
                </a:moveTo>
                <a:cubicBezTo>
                  <a:pt x="0" y="0"/>
                  <a:pt x="1" y="0"/>
                  <a:pt x="1" y="1"/>
                </a:cubicBezTo>
                <a:cubicBezTo>
                  <a:pt x="1" y="0"/>
                  <a:pt x="1" y="0"/>
                  <a:pt x="1" y="0"/>
                </a:cubicBezTo>
                <a:close/>
              </a:path>
            </a:pathLst>
          </a:custGeom>
          <a:solidFill>
            <a:srgbClr val="A8322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pic>
        <p:nvPicPr>
          <p:cNvPr id="115" name="Picture 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10609921" y="6225824"/>
            <a:ext cx="1367825" cy="28927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03" y="1212850"/>
            <a:ext cx="11885683" cy="2025170"/>
          </a:xfrm>
        </p:spPr>
        <p:txBody>
          <a:bodyPr/>
          <a:lstStyle>
            <a:lvl1pPr marL="0" indent="0">
              <a:buNone/>
              <a:defRPr>
                <a:solidFill>
                  <a:srgbClr val="011690"/>
                </a:solidFill>
              </a:defRPr>
            </a:lvl1pPr>
            <a:lvl2pPr marL="0" indent="0">
              <a:buFontTx/>
              <a:buNone/>
              <a:defRPr sz="2000"/>
            </a:lvl2pPr>
            <a:lvl3pPr marL="228577" indent="0">
              <a:buNone/>
              <a:defRPr/>
            </a:lvl3pPr>
            <a:lvl4pPr marL="457154" indent="0">
              <a:buNone/>
              <a:defRPr/>
            </a:lvl4pPr>
            <a:lvl5pPr marL="68573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1056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16" y="1"/>
            <a:ext cx="12422639" cy="6994525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171" y="6240964"/>
            <a:ext cx="1278347" cy="27413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457142" y="2125678"/>
            <a:ext cx="8960294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142" y="3955787"/>
            <a:ext cx="7131728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3" name="Picture 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10609921" y="6225824"/>
            <a:ext cx="1367825" cy="289276"/>
          </a:xfrm>
          <a:prstGeom prst="rect">
            <a:avLst/>
          </a:prstGeom>
        </p:spPr>
      </p:pic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9188895" y="791198"/>
            <a:ext cx="2742850" cy="572464"/>
          </a:xfrm>
        </p:spPr>
        <p:txBody>
          <a:bodyPr lIns="182880" tIns="146304" rIns="182880" bIns="146304" anchor="b"/>
          <a:lstStyle>
            <a:lvl1pPr marL="0" indent="0" algn="r">
              <a:buNone/>
              <a:defRPr sz="2000">
                <a:gradFill>
                  <a:gsLst>
                    <a:gs pos="14644">
                      <a:schemeClr val="tx1"/>
                    </a:gs>
                    <a:gs pos="37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 marL="342866" indent="0">
              <a:buNone/>
              <a:defRPr/>
            </a:lvl2pPr>
            <a:lvl3pPr marL="571443" indent="0">
              <a:buNone/>
              <a:defRPr/>
            </a:lvl3pPr>
            <a:lvl4pPr marL="800020" indent="0">
              <a:buNone/>
              <a:defRPr/>
            </a:lvl4pPr>
            <a:lvl5pPr marL="1028597" indent="0">
              <a:buNone/>
              <a:defRPr/>
            </a:lvl5pPr>
          </a:lstStyle>
          <a:p>
            <a:pPr lvl="0"/>
            <a:r>
              <a:rPr lang="en-US"/>
              <a:t>#hashta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731723" y="475557"/>
            <a:ext cx="3200023" cy="572464"/>
          </a:xfrm>
        </p:spPr>
        <p:txBody>
          <a:bodyPr lIns="182880" tIns="146304" rIns="182880" bIns="146304" anchor="t"/>
          <a:lstStyle>
            <a:lvl1pPr marL="0" indent="0" algn="r">
              <a:buNone/>
              <a:defRPr sz="2000" baseline="0">
                <a:gradFill>
                  <a:gsLst>
                    <a:gs pos="90377">
                      <a:srgbClr val="F8F8F8"/>
                    </a:gs>
                    <a:gs pos="72000">
                      <a:srgbClr val="F8F8F8"/>
                    </a:gs>
                  </a:gsLst>
                  <a:lin ang="5400000" scaled="0"/>
                </a:gradFill>
                <a:latin typeface="+mn-lt"/>
              </a:defRPr>
            </a:lvl1pPr>
            <a:lvl2pPr marL="342866" indent="0">
              <a:buNone/>
              <a:defRPr/>
            </a:lvl2pPr>
            <a:lvl3pPr marL="571443" indent="0">
              <a:buNone/>
              <a:defRPr/>
            </a:lvl3pPr>
            <a:lvl4pPr marL="800020" indent="0">
              <a:buNone/>
              <a:defRPr/>
            </a:lvl4pPr>
            <a:lvl5pPr marL="1028597" indent="0">
              <a:buNone/>
              <a:defRPr/>
            </a:lvl5pPr>
          </a:lstStyle>
          <a:p>
            <a:pPr lvl="0"/>
            <a:r>
              <a:rPr lang="en-US"/>
              <a:t>Twitter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0320" y="565132"/>
            <a:ext cx="421286" cy="4213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03" y="1212851"/>
            <a:ext cx="11885683" cy="209288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342866" indent="-342866">
              <a:buFont typeface="Arial" charset="0"/>
              <a:buChar char="•"/>
              <a:defRPr sz="2400"/>
            </a:lvl2pPr>
            <a:lvl3pPr marL="571443" indent="-342866">
              <a:buFont typeface="Arial" charset="0"/>
              <a:buChar char="•"/>
              <a:defRPr/>
            </a:lvl3pPr>
            <a:lvl4pPr marL="742876" indent="-285721">
              <a:buFont typeface="Arial" charset="0"/>
              <a:buChar char="•"/>
              <a:defRPr/>
            </a:lvl4pPr>
            <a:lvl5pPr marL="971453" indent="-285721">
              <a:buFont typeface="Arial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03" y="1212851"/>
            <a:ext cx="11885683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04" y="1212850"/>
            <a:ext cx="5485699" cy="1982081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400"/>
            </a:lvl2pPr>
            <a:lvl3pPr marL="231752" indent="0">
              <a:buNone/>
              <a:tabLst/>
              <a:defRPr sz="2000"/>
            </a:lvl3pPr>
            <a:lvl4pPr marL="460329" indent="0">
              <a:buNone/>
              <a:defRPr/>
            </a:lvl4pPr>
            <a:lvl5pPr marL="68573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4588" y="1212850"/>
            <a:ext cx="5485699" cy="1982081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400"/>
            </a:lvl2pPr>
            <a:lvl3pPr marL="231752" indent="0">
              <a:buNone/>
              <a:tabLst/>
              <a:defRPr sz="2000"/>
            </a:lvl3pPr>
            <a:lvl4pPr marL="460329" indent="0">
              <a:buNone/>
              <a:defRPr/>
            </a:lvl4pPr>
            <a:lvl5pPr marL="68573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04" y="1212850"/>
            <a:ext cx="5485699" cy="2425279"/>
          </a:xfrm>
        </p:spPr>
        <p:txBody>
          <a:bodyPr wrap="square">
            <a:spAutoFit/>
          </a:bodyPr>
          <a:lstStyle>
            <a:lvl1pPr marL="287309" indent="-287309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13" indent="-233172">
              <a:defRPr sz="2400"/>
            </a:lvl2pPr>
            <a:lvl3pPr marL="699515" indent="-168402">
              <a:tabLst/>
              <a:defRPr sz="2000"/>
            </a:lvl3pPr>
            <a:lvl4pPr marL="880870" indent="-181356">
              <a:defRPr/>
            </a:lvl4pPr>
            <a:lvl5pPr marL="1049272" indent="-168402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4588" y="1212850"/>
            <a:ext cx="5485699" cy="2425279"/>
          </a:xfrm>
        </p:spPr>
        <p:txBody>
          <a:bodyPr wrap="square">
            <a:spAutoFit/>
          </a:bodyPr>
          <a:lstStyle>
            <a:lvl1pPr marL="287309" indent="-287309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13" indent="-233172">
              <a:defRPr sz="2400"/>
            </a:lvl2pPr>
            <a:lvl3pPr marL="699515" indent="-168402">
              <a:tabLst/>
              <a:defRPr sz="2000"/>
            </a:lvl3pPr>
            <a:lvl4pPr marL="880870" indent="-181356">
              <a:defRPr/>
            </a:lvl4pPr>
            <a:lvl5pPr marL="1049272" indent="-168402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01295" y="2963863"/>
            <a:ext cx="10234660" cy="91757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4" y="1209973"/>
            <a:ext cx="4570695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9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04" y="3954463"/>
            <a:ext cx="4571417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"/>
          <a:stretch/>
        </p:blipFill>
        <p:spPr>
          <a:xfrm>
            <a:off x="5302449" y="447"/>
            <a:ext cx="7130850" cy="69999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4" y="1209973"/>
            <a:ext cx="4570695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9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Video tit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03171" y="1"/>
            <a:ext cx="7133302" cy="699997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3" y="2125662"/>
            <a:ext cx="11885683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03" y="1212850"/>
            <a:ext cx="11885683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77" indent="0">
              <a:buNone/>
              <a:defRPr/>
            </a:lvl3pPr>
            <a:lvl4pPr marL="457154" indent="0">
              <a:buNone/>
              <a:defRPr/>
            </a:lvl4pPr>
            <a:lvl5pPr marL="68573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4" y="1241427"/>
            <a:ext cx="54856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031" y="1"/>
            <a:ext cx="6215857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4888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3" tIns="46633" rIns="46633" bIns="466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379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03" y="1221158"/>
            <a:ext cx="11885682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1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54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8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8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03" y="6294477"/>
            <a:ext cx="11885682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7" tIns="146285" rIns="182857" bIns="146285" numCol="1" anchor="t" anchorCtr="0" compatLnSpc="1">
            <a:prstTxWarp prst="textNoShape">
              <a:avLst/>
            </a:prstTxWarp>
            <a:spAutoFit/>
          </a:bodyPr>
          <a:lstStyle/>
          <a:p>
            <a:pPr defTabSz="932197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sp>
        <p:nvSpPr>
          <p:cNvPr id="6" name="Freeform 6"/>
          <p:cNvSpPr>
            <a:spLocks/>
          </p:cNvSpPr>
          <p:nvPr userDrawn="1"/>
        </p:nvSpPr>
        <p:spPr bwMode="auto">
          <a:xfrm>
            <a:off x="8601566" y="6180139"/>
            <a:ext cx="4762" cy="4763"/>
          </a:xfrm>
          <a:custGeom>
            <a:avLst/>
            <a:gdLst>
              <a:gd name="T0" fmla="*/ 1 w 1"/>
              <a:gd name="T1" fmla="*/ 0 h 1"/>
              <a:gd name="T2" fmla="*/ 1 w 1"/>
              <a:gd name="T3" fmla="*/ 1 h 1"/>
              <a:gd name="T4" fmla="*/ 1 w 1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1">
                <a:moveTo>
                  <a:pt x="1" y="0"/>
                </a:moveTo>
                <a:cubicBezTo>
                  <a:pt x="0" y="0"/>
                  <a:pt x="1" y="0"/>
                  <a:pt x="1" y="1"/>
                </a:cubicBezTo>
                <a:cubicBezTo>
                  <a:pt x="1" y="0"/>
                  <a:pt x="1" y="0"/>
                  <a:pt x="1" y="0"/>
                </a:cubicBezTo>
                <a:close/>
              </a:path>
            </a:pathLst>
          </a:custGeom>
          <a:solidFill>
            <a:srgbClr val="A8322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7" name="Freeform 19"/>
          <p:cNvSpPr>
            <a:spLocks/>
          </p:cNvSpPr>
          <p:nvPr userDrawn="1"/>
        </p:nvSpPr>
        <p:spPr bwMode="auto">
          <a:xfrm>
            <a:off x="8569820" y="5738814"/>
            <a:ext cx="4762" cy="4763"/>
          </a:xfrm>
          <a:custGeom>
            <a:avLst/>
            <a:gdLst>
              <a:gd name="T0" fmla="*/ 1 w 1"/>
              <a:gd name="T1" fmla="*/ 0 h 1"/>
              <a:gd name="T2" fmla="*/ 1 w 1"/>
              <a:gd name="T3" fmla="*/ 1 h 1"/>
              <a:gd name="T4" fmla="*/ 1 w 1"/>
              <a:gd name="T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" h="1">
                <a:moveTo>
                  <a:pt x="1" y="0"/>
                </a:moveTo>
                <a:cubicBezTo>
                  <a:pt x="0" y="0"/>
                  <a:pt x="1" y="0"/>
                  <a:pt x="1" y="1"/>
                </a:cubicBezTo>
                <a:cubicBezTo>
                  <a:pt x="1" y="0"/>
                  <a:pt x="1" y="0"/>
                  <a:pt x="1" y="0"/>
                </a:cubicBezTo>
                <a:close/>
              </a:path>
            </a:pathLst>
          </a:custGeom>
          <a:solidFill>
            <a:srgbClr val="A8322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10609921" y="6225824"/>
            <a:ext cx="1367825" cy="28927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457142" y="1703292"/>
            <a:ext cx="11520605" cy="2443746"/>
          </a:xfrm>
          <a:prstGeom prst="rect">
            <a:avLst/>
          </a:prstGeom>
        </p:spPr>
        <p:txBody>
          <a:bodyPr/>
          <a:lstStyle>
            <a:lvl1pPr marL="290484" indent="-290484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443" indent="-280960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927" indent="-290484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504" indent="-22857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081" indent="-22857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4889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>
          <a:xfrm>
            <a:off x="457178" y="479425"/>
            <a:ext cx="11520568" cy="733424"/>
          </a:xfrm>
        </p:spPr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95838" y="597747"/>
            <a:ext cx="1393662" cy="298433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8882" y="1193732"/>
            <a:ext cx="11835810" cy="5501259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51028" fontAlgn="base">
              <a:spcBef>
                <a:spcPct val="0"/>
              </a:spcBef>
              <a:spcAft>
                <a:spcPct val="0"/>
              </a:spcAft>
            </a:pPr>
            <a:endParaRPr lang="en-US" sz="204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6FAD87F-DBF5-4E2F-A61B-3CCEC5C7D0B9}"/>
              </a:ext>
            </a:extLst>
          </p:cNvPr>
          <p:cNvGrpSpPr/>
          <p:nvPr userDrawn="1"/>
        </p:nvGrpSpPr>
        <p:grpSpPr bwMode="ltGray">
          <a:xfrm>
            <a:off x="8884349" y="1806920"/>
            <a:ext cx="3550541" cy="4279614"/>
            <a:chOff x="8710812" y="1771650"/>
            <a:chExt cx="3481189" cy="4196081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6B0365F1-E7DF-4958-962E-9FFD3A39414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3720628"/>
              <a:ext cx="531187" cy="974975"/>
            </a:xfrm>
            <a:custGeom>
              <a:avLst/>
              <a:gdLst>
                <a:gd name="T0" fmla="*/ 547 w 547"/>
                <a:gd name="T1" fmla="*/ 704 h 1004"/>
                <a:gd name="T2" fmla="*/ 0 w 547"/>
                <a:gd name="T3" fmla="*/ 1004 h 1004"/>
                <a:gd name="T4" fmla="*/ 0 w 547"/>
                <a:gd name="T5" fmla="*/ 300 h 1004"/>
                <a:gd name="T6" fmla="*/ 547 w 547"/>
                <a:gd name="T7" fmla="*/ 0 h 1004"/>
                <a:gd name="T8" fmla="*/ 547 w 547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4"/>
                  </a:moveTo>
                  <a:lnTo>
                    <a:pt x="0" y="1004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4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6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39253E4C-431D-4257-8CC7-C1456CD2F32D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8040" y="3720628"/>
              <a:ext cx="532157" cy="974975"/>
            </a:xfrm>
            <a:custGeom>
              <a:avLst/>
              <a:gdLst>
                <a:gd name="T0" fmla="*/ 0 w 548"/>
                <a:gd name="T1" fmla="*/ 704 h 1004"/>
                <a:gd name="T2" fmla="*/ 548 w 548"/>
                <a:gd name="T3" fmla="*/ 1004 h 1004"/>
                <a:gd name="T4" fmla="*/ 548 w 548"/>
                <a:gd name="T5" fmla="*/ 300 h 1004"/>
                <a:gd name="T6" fmla="*/ 0 w 548"/>
                <a:gd name="T7" fmla="*/ 0 h 1004"/>
                <a:gd name="T8" fmla="*/ 0 w 548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4"/>
                  </a:moveTo>
                  <a:lnTo>
                    <a:pt x="548" y="1004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4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6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E928826C-9C74-4194-A556-98EC9A96F6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4404276"/>
              <a:ext cx="1063344" cy="586538"/>
            </a:xfrm>
            <a:custGeom>
              <a:avLst/>
              <a:gdLst>
                <a:gd name="T0" fmla="*/ 547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7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7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6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7ACB5DE1-DAC6-4C99-B2CC-0EB12CE0D5F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6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5D630C8B-3A7C-4321-A3EF-B1D0A698F7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2969" y="2748567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6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A590461-2675-4E4A-B9BB-BF5471E895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3434156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6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48EAECFD-0CA3-492F-BA94-22EF6EB2205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6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62FFEC32-2F2F-43F4-9C21-7F15A26966A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3434157"/>
              <a:ext cx="1063345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  <a:gd name="connsiteX0" fmla="*/ 5005 w 10000"/>
                <a:gd name="connsiteY0" fmla="*/ 0 h 10000"/>
                <a:gd name="connsiteX1" fmla="*/ 0 w 10000"/>
                <a:gd name="connsiteY1" fmla="*/ 4967 h 10000"/>
                <a:gd name="connsiteX2" fmla="*/ 5048 w 10000"/>
                <a:gd name="connsiteY2" fmla="*/ 10000 h 10000"/>
                <a:gd name="connsiteX3" fmla="*/ 10000 w 10000"/>
                <a:gd name="connsiteY3" fmla="*/ 4967 h 10000"/>
                <a:gd name="connsiteX4" fmla="*/ 5005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5005" y="0"/>
                  </a:moveTo>
                  <a:lnTo>
                    <a:pt x="0" y="4967"/>
                  </a:lnTo>
                  <a:lnTo>
                    <a:pt x="5048" y="10000"/>
                  </a:lnTo>
                  <a:lnTo>
                    <a:pt x="10000" y="4967"/>
                  </a:lnTo>
                  <a:lnTo>
                    <a:pt x="5005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6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647709D2-F4CC-4414-B183-427A6D2A22A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1823" y="2748566"/>
              <a:ext cx="534332" cy="982635"/>
            </a:xfrm>
            <a:custGeom>
              <a:avLst/>
              <a:gdLst>
                <a:gd name="T0" fmla="*/ 0 w 548"/>
                <a:gd name="T1" fmla="*/ 706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6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36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72928ABA-DF2E-4C8E-B194-7FA5282298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3616" y="3434158"/>
              <a:ext cx="1060195" cy="586539"/>
            </a:xfrm>
            <a:custGeom>
              <a:avLst/>
              <a:gdLst>
                <a:gd name="T0" fmla="*/ 548 w 1096"/>
                <a:gd name="T1" fmla="*/ 0 h 604"/>
                <a:gd name="T2" fmla="*/ 0 w 1096"/>
                <a:gd name="T3" fmla="*/ 300 h 604"/>
                <a:gd name="T4" fmla="*/ 560 w 1096"/>
                <a:gd name="T5" fmla="*/ 604 h 604"/>
                <a:gd name="T6" fmla="*/ 1096 w 1096"/>
                <a:gd name="T7" fmla="*/ 300 h 604"/>
                <a:gd name="T8" fmla="*/ 548 w 1096"/>
                <a:gd name="T9" fmla="*/ 0 h 604"/>
                <a:gd name="connsiteX0" fmla="*/ 5000 w 9956"/>
                <a:gd name="connsiteY0" fmla="*/ 0 h 10000"/>
                <a:gd name="connsiteX1" fmla="*/ 0 w 9956"/>
                <a:gd name="connsiteY1" fmla="*/ 4967 h 10000"/>
                <a:gd name="connsiteX2" fmla="*/ 5109 w 9956"/>
                <a:gd name="connsiteY2" fmla="*/ 10000 h 10000"/>
                <a:gd name="connsiteX3" fmla="*/ 9956 w 9956"/>
                <a:gd name="connsiteY3" fmla="*/ 4967 h 10000"/>
                <a:gd name="connsiteX4" fmla="*/ 5000 w 995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6" h="10000">
                  <a:moveTo>
                    <a:pt x="5000" y="0"/>
                  </a:moveTo>
                  <a:lnTo>
                    <a:pt x="0" y="4967"/>
                  </a:lnTo>
                  <a:lnTo>
                    <a:pt x="5109" y="10000"/>
                  </a:lnTo>
                  <a:lnTo>
                    <a:pt x="9956" y="4967"/>
                  </a:lnTo>
                  <a:lnTo>
                    <a:pt x="5000" y="0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36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A52C6C9-8220-4E26-B41D-1AA4F49DF9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1771650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6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8548CD94-9B34-4B91-BB2B-8736861E89E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1673" y="1771650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6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CFFFDB94-105D-4570-A938-4AD7CE4AE78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2457240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6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AC2A78A9-4071-45DC-BAE8-1C643EDD9B0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1" y="1771650"/>
              <a:ext cx="531187" cy="976917"/>
            </a:xfrm>
            <a:custGeom>
              <a:avLst/>
              <a:gdLst>
                <a:gd name="T0" fmla="*/ 547 w 547"/>
                <a:gd name="T1" fmla="*/ 706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6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0EEF9B-FB8E-409B-A24F-BD7570B8820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895988" y="1771650"/>
              <a:ext cx="296013" cy="847641"/>
            </a:xfrm>
            <a:custGeom>
              <a:avLst/>
              <a:gdLst>
                <a:gd name="connsiteX0" fmla="*/ 0 w 296013"/>
                <a:gd name="connsiteY0" fmla="*/ 0 h 847641"/>
                <a:gd name="connsiteX1" fmla="*/ 296013 w 296013"/>
                <a:gd name="connsiteY1" fmla="*/ 162051 h 847641"/>
                <a:gd name="connsiteX2" fmla="*/ 296013 w 296013"/>
                <a:gd name="connsiteY2" fmla="*/ 847641 h 847641"/>
                <a:gd name="connsiteX3" fmla="*/ 0 w 296013"/>
                <a:gd name="connsiteY3" fmla="*/ 685590 h 84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013" h="847641">
                  <a:moveTo>
                    <a:pt x="0" y="0"/>
                  </a:moveTo>
                  <a:lnTo>
                    <a:pt x="296013" y="162051"/>
                  </a:lnTo>
                  <a:lnTo>
                    <a:pt x="296013" y="847641"/>
                  </a:lnTo>
                  <a:lnTo>
                    <a:pt x="0" y="685590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836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90FC8DE-C4AD-4BD3-9506-276C17F0C33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0" y="2457240"/>
              <a:ext cx="827200" cy="593577"/>
            </a:xfrm>
            <a:custGeom>
              <a:avLst/>
              <a:gdLst>
                <a:gd name="connsiteX0" fmla="*/ 531141 w 827200"/>
                <a:gd name="connsiteY0" fmla="*/ 0 h 593577"/>
                <a:gd name="connsiteX1" fmla="*/ 827200 w 827200"/>
                <a:gd name="connsiteY1" fmla="*/ 162066 h 593577"/>
                <a:gd name="connsiteX2" fmla="*/ 827200 w 827200"/>
                <a:gd name="connsiteY2" fmla="*/ 425095 h 593577"/>
                <a:gd name="connsiteX3" fmla="*/ 529758 w 827200"/>
                <a:gd name="connsiteY3" fmla="*/ 593577 h 593577"/>
                <a:gd name="connsiteX4" fmla="*/ 0 w 827200"/>
                <a:gd name="connsiteY4" fmla="*/ 291334 h 59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7200" h="593577">
                  <a:moveTo>
                    <a:pt x="531141" y="0"/>
                  </a:moveTo>
                  <a:lnTo>
                    <a:pt x="827200" y="162066"/>
                  </a:lnTo>
                  <a:lnTo>
                    <a:pt x="827200" y="425095"/>
                  </a:lnTo>
                  <a:lnTo>
                    <a:pt x="529758" y="593577"/>
                  </a:lnTo>
                  <a:lnTo>
                    <a:pt x="0" y="291334"/>
                  </a:lnTo>
                  <a:close/>
                </a:path>
              </a:pathLst>
            </a:custGeom>
            <a:solidFill>
              <a:srgbClr val="303030"/>
            </a:solidFill>
            <a:ln w="9525">
              <a:solidFill>
                <a:srgbClr val="30303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36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77297A5A-69AC-4DF4-95F9-A09D48D814E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4400391"/>
              <a:ext cx="531187" cy="976917"/>
            </a:xfrm>
            <a:custGeom>
              <a:avLst/>
              <a:gdLst>
                <a:gd name="T0" fmla="*/ 547 w 547"/>
                <a:gd name="T1" fmla="*/ 707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7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7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6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E65087DC-7AC8-4AA7-9010-A067ADE1CF79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47210" y="4400391"/>
              <a:ext cx="532157" cy="976917"/>
            </a:xfrm>
            <a:custGeom>
              <a:avLst/>
              <a:gdLst>
                <a:gd name="T0" fmla="*/ 0 w 548"/>
                <a:gd name="T1" fmla="*/ 707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7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7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6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3B4C2EBB-4C89-4380-A5E7-A7BD40C2B90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5086952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6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0D7CD4FA-6D18-4E1F-9C7D-91AA2E32B2B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4697545"/>
              <a:ext cx="531187" cy="974975"/>
            </a:xfrm>
            <a:custGeom>
              <a:avLst/>
              <a:gdLst>
                <a:gd name="T0" fmla="*/ 547 w 547"/>
                <a:gd name="T1" fmla="*/ 705 h 1004"/>
                <a:gd name="T2" fmla="*/ 0 w 547"/>
                <a:gd name="T3" fmla="*/ 1004 h 1004"/>
                <a:gd name="T4" fmla="*/ 0 w 547"/>
                <a:gd name="T5" fmla="*/ 298 h 1004"/>
                <a:gd name="T6" fmla="*/ 547 w 547"/>
                <a:gd name="T7" fmla="*/ 0 h 1004"/>
                <a:gd name="T8" fmla="*/ 547 w 547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5"/>
                  </a:moveTo>
                  <a:lnTo>
                    <a:pt x="0" y="1004"/>
                  </a:lnTo>
                  <a:lnTo>
                    <a:pt x="0" y="298"/>
                  </a:lnTo>
                  <a:lnTo>
                    <a:pt x="547" y="0"/>
                  </a:lnTo>
                  <a:lnTo>
                    <a:pt x="547" y="705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6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5D06D6BE-8F81-4F1F-9E44-429E129C195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51709" y="4697545"/>
              <a:ext cx="532157" cy="974975"/>
            </a:xfrm>
            <a:custGeom>
              <a:avLst/>
              <a:gdLst>
                <a:gd name="T0" fmla="*/ 0 w 548"/>
                <a:gd name="T1" fmla="*/ 705 h 1004"/>
                <a:gd name="T2" fmla="*/ 548 w 548"/>
                <a:gd name="T3" fmla="*/ 1004 h 1004"/>
                <a:gd name="T4" fmla="*/ 548 w 548"/>
                <a:gd name="T5" fmla="*/ 298 h 1004"/>
                <a:gd name="T6" fmla="*/ 0 w 548"/>
                <a:gd name="T7" fmla="*/ 0 h 1004"/>
                <a:gd name="T8" fmla="*/ 0 w 548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5"/>
                  </a:moveTo>
                  <a:lnTo>
                    <a:pt x="548" y="1004"/>
                  </a:lnTo>
                  <a:lnTo>
                    <a:pt x="548" y="298"/>
                  </a:lnTo>
                  <a:lnTo>
                    <a:pt x="0" y="0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6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3F7CF64D-F067-41E4-8D9F-41FF3897282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5382163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6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906857" y="3136130"/>
            <a:ext cx="2367734" cy="14580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51304" rtl="0" eaLnBrk="1" fontAlgn="auto" latinLnBrk="0" hangingPunct="1">
              <a:lnSpc>
                <a:spcPct val="10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52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51304" rtl="0" eaLnBrk="1" fontAlgn="auto" latinLnBrk="0" hangingPunct="1">
              <a:lnSpc>
                <a:spcPct val="10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52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51304" rtl="0" eaLnBrk="1" fontAlgn="auto" latinLnBrk="0" hangingPunct="1">
              <a:lnSpc>
                <a:spcPct val="10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52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97585" y="3247133"/>
            <a:ext cx="2766341" cy="1394459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6337951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95838" y="597450"/>
            <a:ext cx="1393662" cy="2984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981" y="3038854"/>
            <a:ext cx="6062008" cy="565027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93636" y="4041282"/>
            <a:ext cx="6062008" cy="31390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4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95417" y="597450"/>
            <a:ext cx="2745253" cy="282513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5130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36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>
                <a:latin typeface="+mj-lt"/>
              </a:rPr>
              <a:t>Session code here</a:t>
            </a:r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DCBAFEF-FDA0-4148-B6F8-D1D9029A0218}"/>
              </a:ext>
            </a:extLst>
          </p:cNvPr>
          <p:cNvGrpSpPr/>
          <p:nvPr userDrawn="1"/>
        </p:nvGrpSpPr>
        <p:grpSpPr bwMode="ltGray">
          <a:xfrm>
            <a:off x="6380751" y="-22273"/>
            <a:ext cx="6050265" cy="7027210"/>
            <a:chOff x="6256117" y="-21839"/>
            <a:chExt cx="5932086" cy="689004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9BE868E-A240-4959-BD66-6BC44EE5A4A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DDB4654-32A2-47CE-B324-C597C756E402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18BE353-242E-4429-9D4C-1D50CEEC277C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2B25198-469F-44A8-946B-689A24DC3C72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5460766-0EE4-4C99-BD2E-1BAD7FD9C3AC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EFBC909F-DC50-4DDC-91C9-2509E0F5633F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0DC1718-52A4-4705-AE14-45A352ACBC2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D51C16AF-F6FA-4CD2-B0A5-3663CD02799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A105041-F999-49D6-BE4B-7630F1204F6C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190B08C-67D4-4DAD-8158-2B4D4A1318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43F7B37-FD03-4D73-932B-77D49AB6A515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F01A60D-F904-4399-87EA-23E33C45969F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450C50C-26FC-42C5-BA39-AE97627B772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8924B0-E78A-4770-AF30-C78056E7AAAB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D8AB0228-AC44-413D-A029-1BBF7B18CBCC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9C067BE-7550-4D8F-9A42-B78AB594CD54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4D97435-6932-4E2A-A217-DEA06FDA510A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FF9C9FB6-79F2-41F1-872D-2184B91C8E00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577AEC4-9502-4D2D-B373-2F1CB4EFF9B8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13EA48F-163A-410A-8C97-A08AA1B2EE50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3E1E199B-B230-4884-9F60-9B781B11B8FF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B98E4A3-2599-4DEB-8ECC-F004500FBF6A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B74F55-4583-4B26-A4E0-71C00B14AFF6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C4D1900-D812-4B27-AC50-B2795AD953C3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83ECFC2-9749-4525-973B-EAA0BC0FC62B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A3ABF7E-B2D4-4B7A-9B6E-0EB3223E4EE4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57827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8072" y="1462924"/>
            <a:ext cx="11238030" cy="164487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33149" indent="0">
              <a:buNone/>
              <a:defRPr/>
            </a:lvl2pPr>
            <a:lvl3pPr marL="466298" indent="0">
              <a:buNone/>
              <a:defRPr/>
            </a:lvl3pPr>
            <a:lvl4pPr marL="699447" indent="0">
              <a:buNone/>
              <a:defRPr/>
            </a:lvl4pPr>
            <a:lvl5pPr marL="93259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24370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5838" y="1464074"/>
            <a:ext cx="11238030" cy="164487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22800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03" y="1212851"/>
            <a:ext cx="11885683" cy="2092881"/>
          </a:xfrm>
        </p:spPr>
        <p:txBody>
          <a:bodyPr>
            <a:spAutoFit/>
          </a:bodyPr>
          <a:lstStyle>
            <a:lvl1pPr>
              <a:defRPr sz="4000">
                <a:solidFill>
                  <a:srgbClr val="01169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24043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5838" y="1463669"/>
            <a:ext cx="5315915" cy="1682523"/>
          </a:xfrm>
        </p:spPr>
        <p:txBody>
          <a:bodyPr wrap="square">
            <a:spAutoFit/>
          </a:bodyPr>
          <a:lstStyle>
            <a:lvl1pPr marL="0" indent="0">
              <a:spcBef>
                <a:spcPts val="1248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56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60674" indent="0">
              <a:buFont typeface="Wingdings" panose="05000000000000000000" pitchFamily="2" charset="2"/>
              <a:buNone/>
              <a:defRPr sz="2040" b="0"/>
            </a:lvl2pPr>
            <a:lvl3pPr marL="459822" indent="0">
              <a:buFont typeface="Wingdings" panose="05000000000000000000" pitchFamily="2" charset="2"/>
              <a:buNone/>
              <a:tabLst/>
              <a:defRPr sz="1632" b="0"/>
            </a:lvl3pPr>
            <a:lvl4pPr marL="665446" indent="0">
              <a:buFont typeface="Wingdings" panose="05000000000000000000" pitchFamily="2" charset="2"/>
              <a:buNone/>
              <a:defRPr sz="1428" b="0"/>
            </a:lvl4pPr>
            <a:lvl5pPr marL="871071" indent="0">
              <a:buFont typeface="Wingdings" panose="05000000000000000000" pitchFamily="2" charset="2"/>
              <a:buNone/>
              <a:tabLst/>
              <a:defRPr sz="1428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24615" y="1463669"/>
            <a:ext cx="5315915" cy="1682523"/>
          </a:xfrm>
        </p:spPr>
        <p:txBody>
          <a:bodyPr wrap="square">
            <a:spAutoFit/>
          </a:bodyPr>
          <a:lstStyle>
            <a:lvl1pPr marL="0" indent="0">
              <a:spcBef>
                <a:spcPts val="1248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56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60674" indent="0">
              <a:buFont typeface="Wingdings" panose="05000000000000000000" pitchFamily="2" charset="2"/>
              <a:buNone/>
              <a:defRPr sz="2040" b="0"/>
            </a:lvl2pPr>
            <a:lvl3pPr marL="459822" indent="0">
              <a:buFont typeface="Wingdings" panose="05000000000000000000" pitchFamily="2" charset="2"/>
              <a:buNone/>
              <a:tabLst/>
              <a:defRPr sz="1632" b="0"/>
            </a:lvl3pPr>
            <a:lvl4pPr marL="665446" indent="0">
              <a:buFont typeface="Wingdings" panose="05000000000000000000" pitchFamily="2" charset="2"/>
              <a:buNone/>
              <a:defRPr sz="1428" b="0"/>
            </a:lvl4pPr>
            <a:lvl5pPr marL="871071" indent="0">
              <a:buFont typeface="Wingdings" panose="05000000000000000000" pitchFamily="2" charset="2"/>
              <a:buNone/>
              <a:tabLst/>
              <a:defRPr sz="1428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01025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5838" y="1466097"/>
            <a:ext cx="5315915" cy="1682523"/>
          </a:xfrm>
        </p:spPr>
        <p:txBody>
          <a:bodyPr wrap="square">
            <a:spAutoFit/>
          </a:bodyPr>
          <a:lstStyle>
            <a:lvl1pPr marL="236387" indent="-236387">
              <a:spcBef>
                <a:spcPts val="1248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56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35536" indent="-174862">
              <a:buFont typeface="Wingdings" panose="05000000000000000000" pitchFamily="2" charset="2"/>
              <a:buChar char=""/>
              <a:defRPr sz="2040" b="0"/>
            </a:lvl2pPr>
            <a:lvl3pPr marL="652494" indent="-192672">
              <a:buFont typeface="Wingdings" panose="05000000000000000000" pitchFamily="2" charset="2"/>
              <a:buChar char=""/>
              <a:tabLst/>
              <a:defRPr sz="1632" b="0"/>
            </a:lvl3pPr>
            <a:lvl4pPr marL="845166" indent="-179720">
              <a:buFont typeface="Wingdings" panose="05000000000000000000" pitchFamily="2" charset="2"/>
              <a:buChar char=""/>
              <a:defRPr sz="1428" b="0"/>
            </a:lvl4pPr>
            <a:lvl5pPr marL="1044314" indent="-173243">
              <a:buFont typeface="Wingdings" panose="05000000000000000000" pitchFamily="2" charset="2"/>
              <a:buChar char=""/>
              <a:tabLst/>
              <a:defRPr sz="1428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17213" y="1466097"/>
            <a:ext cx="5315915" cy="1682523"/>
          </a:xfrm>
        </p:spPr>
        <p:txBody>
          <a:bodyPr wrap="square">
            <a:spAutoFit/>
          </a:bodyPr>
          <a:lstStyle>
            <a:lvl1pPr marL="236387" indent="-236387">
              <a:spcBef>
                <a:spcPts val="1248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56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35536" indent="-174862">
              <a:buFont typeface="Wingdings" panose="05000000000000000000" pitchFamily="2" charset="2"/>
              <a:buChar char=""/>
              <a:defRPr sz="2040" b="0"/>
            </a:lvl2pPr>
            <a:lvl3pPr marL="652494" indent="-192672">
              <a:buFont typeface="Wingdings" panose="05000000000000000000" pitchFamily="2" charset="2"/>
              <a:buChar char=""/>
              <a:tabLst/>
              <a:defRPr sz="1632" b="0"/>
            </a:lvl3pPr>
            <a:lvl4pPr marL="845166" indent="-179720">
              <a:buFont typeface="Wingdings" panose="05000000000000000000" pitchFamily="2" charset="2"/>
              <a:buChar char=""/>
              <a:defRPr sz="1428" b="0"/>
            </a:lvl4pPr>
            <a:lvl5pPr marL="1044314" indent="-173243">
              <a:buFont typeface="Wingdings" panose="05000000000000000000" pitchFamily="2" charset="2"/>
              <a:buChar char=""/>
              <a:tabLst/>
              <a:defRPr sz="1428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55667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99249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2660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839" y="466302"/>
            <a:ext cx="5618157" cy="379824"/>
          </a:xfrm>
        </p:spPr>
        <p:txBody>
          <a:bodyPr tIns="64008"/>
          <a:lstStyle>
            <a:lvl1pPr>
              <a:defRPr sz="204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10315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200F7B6E-608C-4712-A939-BEBE059E295A}"/>
              </a:ext>
            </a:extLst>
          </p:cNvPr>
          <p:cNvGrpSpPr/>
          <p:nvPr userDrawn="1"/>
        </p:nvGrpSpPr>
        <p:grpSpPr bwMode="ltGray">
          <a:xfrm>
            <a:off x="6380751" y="-22273"/>
            <a:ext cx="6050265" cy="7027210"/>
            <a:chOff x="6256117" y="-21839"/>
            <a:chExt cx="5932086" cy="6890047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DC5E8A2-8275-4F90-BA55-9B66D81C4A9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C563208-4732-48A3-81E6-533A2E2DD53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D0ADC22-C4D5-4BE8-99A8-91566ADDBF5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91C4D457-0F93-4853-AB02-01C200DE6658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E8D605B0-4DEE-4101-AC83-CD1D15D14DB9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EF14ED5-2275-4C01-96DD-1D24FE9FD6EE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F31E8C76-6A67-4E1C-BCC4-8D2ABCC0212A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ABDD9FA-82C7-4E69-9895-354AD0BDD19E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A7CD18E-2839-44B2-9BA7-6356529D686A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0B7E64CE-434E-410A-823C-4872E71DD278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0D92AA81-D52A-4877-AE2C-AB5B4D374D19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BE84D11A-0DE4-40A8-BB80-889FF30CCE03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0E0B5D-2F12-4C6E-92C5-3765C579ADE8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765DAB00-242D-4D78-B6BF-F678C14B519F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D824698C-3D67-4D42-9DE6-531F5A0C7EA3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99246CD-F05A-4044-B7A4-384A7B272509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6930CAB-4305-4191-AD01-9D22AAD264D9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FBC50E9-9F0E-4D62-9AA6-DC145681D1EA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9610B7D-2856-472A-B98F-5684402C6C99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173E078-D753-4C8F-98BB-75D0CBE314FE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EAA82456-62CD-4C42-91A4-3FFD8F19BCBD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41ABB687-FC0A-4A48-8466-BF8A1129E230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EEA91BF-1A44-4FB0-92F0-23098E7BBFCD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11C6A8E-CEC6-4129-9FB2-A426C6CE84EB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205B8F1F-9F8A-42BF-8770-AEABCEC35D18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36EE7F2A-0858-47D2-B1D0-D33BCD933AB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</p:grpSp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116439" y="297916"/>
            <a:ext cx="7018912" cy="6397076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5130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28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5839" y="2631002"/>
            <a:ext cx="3843982" cy="565027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72" b="1" spc="-5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839" y="3605925"/>
            <a:ext cx="3844392" cy="313904"/>
          </a:xfrm>
        </p:spPr>
        <p:txBody>
          <a:bodyPr/>
          <a:lstStyle>
            <a:lvl1pPr marL="0" indent="0">
              <a:buNone/>
              <a:defRPr sz="2040">
                <a:latin typeface="+mn-lt"/>
              </a:defRPr>
            </a:lvl1pPr>
            <a:lvl2pPr marL="233149" indent="0">
              <a:buNone/>
              <a:defRPr/>
            </a:lvl2pPr>
            <a:lvl3pPr marL="466298" indent="0">
              <a:buNone/>
              <a:defRPr/>
            </a:lvl3pPr>
            <a:lvl4pPr marL="675162" indent="0">
              <a:buNone/>
              <a:defRPr/>
            </a:lvl4pPr>
            <a:lvl5pPr marL="87269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39013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C39AAC9F-C8B8-422E-93FC-08A064104000}"/>
              </a:ext>
            </a:extLst>
          </p:cNvPr>
          <p:cNvGrpSpPr/>
          <p:nvPr userDrawn="1"/>
        </p:nvGrpSpPr>
        <p:grpSpPr bwMode="ltGray">
          <a:xfrm>
            <a:off x="6380751" y="-22273"/>
            <a:ext cx="6050265" cy="7027210"/>
            <a:chOff x="6256117" y="-21839"/>
            <a:chExt cx="5932086" cy="689004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09379AA-B540-4886-8794-46BA10F3D91B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9E5BC201-014B-48F5-BAC0-4FBBACCBF586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F72CD027-1ABE-4E4A-BE9E-EF73250F92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52C85D91-63CC-4FF7-A826-BE886CDB017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55C67E6-D930-403F-9550-70EC2A102AB5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DB9C074-A5A6-4082-9FCD-D487FD8013E5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E3D79EB-E5E0-4CA3-A7CE-50069CC73F1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2F892FB-2465-40CF-A81F-AC989DC09CE4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8BADF38-50C7-4E4B-AA00-660BF4161C96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51B782C-38CF-4C16-8A55-9C1BEA5AF3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61A234A0-3B09-4E85-880A-C885FBEE2401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B6516D46-39CD-420E-9263-03065B10F8F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8F64C-F49A-4F09-A9C2-8502680A64D7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AE00412-2C1C-4CAB-B1D4-B046A4B37C24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01030AB7-3DE7-407A-98DE-751351FCBFB5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074BD83-98DD-4084-9D1E-CDACFD005AFF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47C85498-5D07-457D-BA73-99E2EB50130B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3DF2CE11-90A6-43A8-B2DC-45295F10CB64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65F154A-ABA1-4F9A-97F8-C50108DD1A97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4AC8DFE-7BB0-4D98-AA21-405DB4B06225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F39938CF-5CFF-4707-BBDD-DD19FA0A50F1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73332E5E-0308-4370-A841-A20570A69BDF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E46D602-7D42-411E-8BA6-6F74E13FE60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53F344C1-9929-4E86-BB1A-05E12D1570DF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6933AFD-19AA-49B8-BCF7-2D0EAA89273D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FB75AC2-D122-402F-B448-B0118576BB4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5839" y="3040994"/>
            <a:ext cx="3844570" cy="878930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56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116439" y="297916"/>
            <a:ext cx="7018912" cy="6397076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5130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28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1171659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875" y="3093607"/>
            <a:ext cx="6528316" cy="508524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513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72" b="1" kern="1200" cap="none" spc="-51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96875" y="4056498"/>
            <a:ext cx="6528316" cy="31390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4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B08910-F1C3-47B2-8C69-1B107282064A}"/>
              </a:ext>
            </a:extLst>
          </p:cNvPr>
          <p:cNvGrpSpPr/>
          <p:nvPr userDrawn="1"/>
        </p:nvGrpSpPr>
        <p:grpSpPr bwMode="ltGray">
          <a:xfrm>
            <a:off x="6380751" y="-22273"/>
            <a:ext cx="6050265" cy="7027210"/>
            <a:chOff x="6256117" y="-21839"/>
            <a:chExt cx="5932086" cy="68900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E7A031-B4AB-4071-98FF-24E766F9BB5C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DC7067D-3957-4163-9442-C167A0A6216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AE235F-4F6C-4565-AADC-752626D64B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EAADF52-7CC0-4715-8BAC-4186C7CE9B0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AC140A-9DFB-45B7-82C2-CF25166A0D41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436FDC7-3DF0-4E6A-B4A8-7EB4FF30AAF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72FB5AA-3C69-4BB6-9C10-682E95EF1AAE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0321A7F-C5FC-4514-A3AC-41CC16FA85FD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3C4B3CE-95D2-45A5-917E-A5389B118222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A5270AF0-DA91-4FF8-9B1C-35937E49D88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B4AB4EC-0302-4902-B797-9B84C91FDE1B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941D13F-2DD6-4121-8220-CC08400DD382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98F2381-17CE-4672-96D3-D3E4A8C1115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6A42BAE-DCEA-4A1A-8779-E499D67DA7B9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D7995E7-6761-41BA-BE88-30DD0DF70D22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4D7B6AA-459B-44CF-9930-A05720C41315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EBE7D0E-F0D6-4EA3-A151-C26BF3138977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118A379-1639-4C1C-9E5B-A39F1CD0A9D9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8DE972F-9FF1-4743-BF7F-15CC5403A6C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95596FA-D3B2-4953-81FC-9958337AF5DC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D57090A-B887-4CA7-A022-90564F12A9A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9749B2E-C284-42A2-A061-B635FBBBD461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A74F4CD-889D-4E91-AB27-CCB11E8677AE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CE97AB5-F3D1-4D1A-8F2F-166F6F85A189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5281A29-9018-48AF-8B81-EB9F71FE5ABA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B1B3F07-773E-4FC0-9A04-73F52683190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895411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875" y="3096243"/>
            <a:ext cx="6528316" cy="508524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513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72" b="1" kern="1200" cap="none" spc="-51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867548-8B9A-436D-9AB6-D7EA0AC78267}"/>
              </a:ext>
            </a:extLst>
          </p:cNvPr>
          <p:cNvGrpSpPr/>
          <p:nvPr userDrawn="1"/>
        </p:nvGrpSpPr>
        <p:grpSpPr bwMode="ltGray">
          <a:xfrm>
            <a:off x="6380751" y="-22273"/>
            <a:ext cx="6050265" cy="7027210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298AA2D-C933-41C0-B3A0-5E1B5429C617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E45CCA4-1611-4A15-8D76-0CD4304233D4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B20432D-F3B6-4212-B616-45AD62D0A8BA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CB285A8-E7EF-4B70-8B71-2D09BE26853D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D552378-B8A4-40F9-8A64-367F9EC304F0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DED4FF8-FEAE-4CC0-8F5B-9FC2B47E570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4DD2AD2-299E-4049-881B-2BC838B6DB02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30A103C-9EC8-479D-9AEA-2FA30D0B683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FF762A67-8800-4EDC-ACA0-235237807007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C1E21E3-4EFA-46DB-B62D-888B912FEC3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C90FB2C-AED4-45EF-B005-A6F9315E6638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9EFEACE-63D5-4DE9-AE7A-022D10CBBAD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83FC86B-2504-437F-9155-736D3776FBC0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4BE281D9-0C46-4685-8A97-79D102C868ED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B982782-C326-41A6-88DF-60D0069AAC1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C69C78E5-CDD7-45AD-9FAC-A193057F255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5E678CA-56AB-4822-8F79-1B384711F464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4D454C8-0C5D-4654-B977-447674D5459E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FD26513-923A-4E4E-88AB-484CF7F390D1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5F3DAB6-E46E-498F-AC8D-245DB12E86FA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2FF22795-13BD-4A36-8B98-FAE4B2B9567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6E68192-BBC2-4E66-BC2E-A6F5E839A4EC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74CE4AB-E3EC-4485-A9DB-D3875DE15509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8D9197E-BD70-40A3-872D-2F635C47602A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A35C218-6C8E-4E07-9EA7-15A37B43AD66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47F6A62-B1EC-420D-A385-9A9A03966E9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572708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875" y="3096243"/>
            <a:ext cx="6528316" cy="508524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513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72" b="1" kern="1200" cap="none" spc="-51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380751" y="-22273"/>
            <a:ext cx="6050265" cy="7027210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36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55850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03" y="1212851"/>
            <a:ext cx="11885683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04337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9982" y="1465289"/>
            <a:ext cx="11238030" cy="1946203"/>
          </a:xfrm>
        </p:spPr>
        <p:txBody>
          <a:bodyPr/>
          <a:lstStyle>
            <a:lvl1pPr marL="0" indent="0">
              <a:buNone/>
              <a:defRPr sz="2856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53449" indent="0">
              <a:buNone/>
              <a:defRPr sz="2448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96241" indent="0">
              <a:buNone/>
              <a:defRPr sz="204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30773" indent="0">
              <a:buNone/>
              <a:defRPr sz="1836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71912" indent="0">
              <a:buNone/>
              <a:defRPr sz="1836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45960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95839" y="6281748"/>
            <a:ext cx="4571416" cy="11209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50843" eaLnBrk="0" hangingPunct="0"/>
            <a:r>
              <a:rPr lang="en-US" sz="714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95838" y="597450"/>
            <a:ext cx="1393662" cy="29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138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95839" y="1465289"/>
            <a:ext cx="11238354" cy="2260106"/>
          </a:xfrm>
        </p:spPr>
        <p:txBody>
          <a:bodyPr>
            <a:spAutoFit/>
          </a:bodyPr>
          <a:lstStyle>
            <a:lvl1pPr>
              <a:defRPr sz="3672">
                <a:latin typeface="+mn-lt"/>
              </a:defRPr>
            </a:lvl1pPr>
            <a:lvl2pPr>
              <a:defRPr sz="2856">
                <a:latin typeface="+mn-lt"/>
              </a:defRPr>
            </a:lvl2pPr>
            <a:lvl3pPr>
              <a:defRPr sz="2448">
                <a:latin typeface="+mn-lt"/>
              </a:defRPr>
            </a:lvl3pPr>
            <a:lvl4pPr>
              <a:defRPr sz="2040">
                <a:latin typeface="+mn-lt"/>
              </a:defRPr>
            </a:lvl4pPr>
            <a:lvl5pPr>
              <a:defRPr sz="1836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93839"/>
            <a:ext cx="12434889" cy="600688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74" spc="-52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02043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4690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667" y="2125678"/>
            <a:ext cx="9142769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66" y="3955786"/>
            <a:ext cx="7314204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61" y="5915185"/>
            <a:ext cx="2236970" cy="82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5621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4399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32458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4" y="1209974"/>
            <a:ext cx="10055528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04" y="3954463"/>
            <a:ext cx="10057118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0762657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85375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03" y="6294477"/>
            <a:ext cx="11885682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7885555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04" y="1212849"/>
            <a:ext cx="54856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solidFill>
                  <a:srgbClr val="011690"/>
                </a:solidFill>
              </a:defRPr>
            </a:lvl1pPr>
            <a:lvl2pPr marL="0" indent="0">
              <a:buNone/>
              <a:defRPr sz="2000"/>
            </a:lvl2pPr>
            <a:lvl3pPr marL="231752" indent="0">
              <a:buNone/>
              <a:tabLst/>
              <a:defRPr sz="2000"/>
            </a:lvl3pPr>
            <a:lvl4pPr marL="460329" indent="0">
              <a:buNone/>
              <a:defRPr/>
            </a:lvl4pPr>
            <a:lvl5pPr marL="68573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4588" y="1212849"/>
            <a:ext cx="54856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solidFill>
                  <a:srgbClr val="011690"/>
                </a:solidFill>
              </a:defRPr>
            </a:lvl1pPr>
            <a:lvl2pPr marL="0" indent="0">
              <a:buNone/>
              <a:defRPr sz="2000"/>
            </a:lvl2pPr>
            <a:lvl3pPr marL="231752" indent="0">
              <a:buNone/>
              <a:tabLst/>
              <a:defRPr sz="2000"/>
            </a:lvl3pPr>
            <a:lvl4pPr marL="460329" indent="0">
              <a:buNone/>
              <a:defRPr/>
            </a:lvl4pPr>
            <a:lvl5pPr marL="68573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39778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ith - 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4" y="2740136"/>
            <a:ext cx="4891416" cy="1292662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596" spc="-5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Brad Smith square photo layout</a:t>
            </a:r>
          </a:p>
        </p:txBody>
      </p:sp>
    </p:spTree>
    <p:extLst>
      <p:ext uri="{BB962C8B-B14F-4D97-AF65-F5344CB8AC3E}">
        <p14:creationId xmlns:p14="http://schemas.microsoft.com/office/powerpoint/2010/main" val="10648772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95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07DE85-B70F-4309-8506-6C011BC20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20" y="1866136"/>
            <a:ext cx="7626965" cy="1502727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99"/>
              </a:spcAft>
              <a:defRPr sz="2600" spc="-15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sp>
        <p:nvSpPr>
          <p:cNvPr id="7" name="Text Box 3">
            <a:extLst>
              <a:ext uri="{FF2B5EF4-FFF2-40B4-BE49-F238E27FC236}">
                <a16:creationId xmlns:a16="http://schemas.microsoft.com/office/drawing/2014/main" id="{F3523A4C-09FD-49AC-AA6D-1A6E7B7893EE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37031" y="6444246"/>
            <a:ext cx="4571416" cy="10986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>
                <a:solidFill>
                  <a:srgbClr val="000000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4C8B45-9D01-4389-94BD-CBAF3D8B35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8102" y="445839"/>
            <a:ext cx="914284" cy="194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2199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no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88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12879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8005553" y="-14802"/>
            <a:ext cx="4429333" cy="7009329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20323" y="2185191"/>
            <a:ext cx="6628554" cy="4114800"/>
          </a:xfrm>
        </p:spPr>
        <p:txBody>
          <a:bodyPr lIns="274320">
            <a:noAutofit/>
          </a:bodyPr>
          <a:lstStyle>
            <a:lvl1pPr marL="0" indent="0">
              <a:lnSpc>
                <a:spcPct val="100000"/>
              </a:lnSpc>
              <a:spcBef>
                <a:spcPts val="2000"/>
              </a:spcBef>
              <a:buFont typeface="Arial" charset="0"/>
              <a:buNone/>
              <a:defRPr b="0" i="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98" baseline="0"/>
            </a:lvl2pPr>
          </a:lstStyle>
          <a:p>
            <a:pPr lvl="0"/>
            <a:r>
              <a:rPr lang="en-US"/>
              <a:t>Click to edit sub head text styles</a:t>
            </a:r>
          </a:p>
          <a:p>
            <a:pPr lvl="1"/>
            <a:r>
              <a:rPr lang="en-US"/>
              <a:t>Click to edit text styles</a:t>
            </a:r>
          </a:p>
          <a:p>
            <a:pPr lvl="0"/>
            <a:r>
              <a:rPr lang="en-US"/>
              <a:t>Click to edit sub head text styles</a:t>
            </a:r>
          </a:p>
          <a:p>
            <a:pPr lvl="1"/>
            <a:r>
              <a:rPr lang="en-US"/>
              <a:t>Click to edit text styles</a:t>
            </a:r>
          </a:p>
          <a:p>
            <a:pPr lvl="0"/>
            <a:r>
              <a:rPr lang="en-US"/>
              <a:t>Click to edit sub head text styles</a:t>
            </a:r>
          </a:p>
          <a:p>
            <a:pPr lvl="1"/>
            <a:r>
              <a:rPr lang="en-US"/>
              <a:t>Click to edit text styles</a:t>
            </a:r>
          </a:p>
          <a:p>
            <a:pPr lvl="1"/>
            <a:endParaRPr lang="en-US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20323" y="458677"/>
            <a:ext cx="7585230" cy="950976"/>
          </a:xfrm>
        </p:spPr>
        <p:txBody>
          <a:bodyPr lIns="274320" tIns="182880" rIns="45720" bIns="45720"/>
          <a:lstStyle>
            <a:lvl1pPr marL="0" algn="l" defTabSz="913702" rtl="0" eaLnBrk="1" latinLnBrk="0" hangingPunct="1">
              <a:spcBef>
                <a:spcPct val="0"/>
              </a:spcBef>
              <a:buNone/>
              <a:defRPr lang="en-US" sz="3598" b="0" i="0" u="none" kern="1200" spc="-150" baseline="0" dirty="0">
                <a:solidFill>
                  <a:schemeClr val="accent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69155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04" y="300240"/>
            <a:ext cx="11888047" cy="822960"/>
          </a:xfrm>
        </p:spPr>
        <p:txBody>
          <a:bodyPr/>
          <a:lstStyle>
            <a:lvl1pPr marL="0" algn="l" defTabSz="913702" rtl="0" eaLnBrk="1" latinLnBrk="0" hangingPunct="1">
              <a:spcBef>
                <a:spcPct val="0"/>
              </a:spcBef>
              <a:buNone/>
              <a:defRPr lang="en-US" sz="3997" b="0" i="0" u="none" kern="1200" spc="-150" baseline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74604" y="1212852"/>
            <a:ext cx="11885684" cy="1295739"/>
          </a:xfrm>
        </p:spPr>
        <p:txBody>
          <a:bodyPr>
            <a:noAutofit/>
          </a:bodyPr>
          <a:lstStyle>
            <a:lvl1pPr marL="287227" indent="-287227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n-lt"/>
              </a:defRPr>
            </a:lvl1pPr>
            <a:lvl2pPr marL="171384" indent="-171384">
              <a:buFont typeface="Arial" panose="020B0604020202020204" pitchFamily="34" charset="0"/>
              <a:buChar char="•"/>
              <a:defRPr sz="1198">
                <a:latin typeface="+mn-lt"/>
              </a:defRPr>
            </a:lvl2pPr>
            <a:lvl3pPr marL="399897" indent="-171384">
              <a:buFont typeface="Arial" panose="020B0604020202020204" pitchFamily="34" charset="0"/>
              <a:buChar char="•"/>
              <a:defRPr sz="1598">
                <a:latin typeface="+mn-lt"/>
              </a:defRPr>
            </a:lvl3pPr>
            <a:lvl4pPr marL="628409" indent="-171384">
              <a:buFont typeface="Arial" panose="020B0604020202020204" pitchFamily="34" charset="0"/>
              <a:buChar char="•"/>
              <a:defRPr sz="1398">
                <a:latin typeface="+mn-lt"/>
              </a:defRPr>
            </a:lvl4pPr>
            <a:lvl5pPr marL="856920" indent="-171384">
              <a:buFont typeface="Arial" panose="020B0604020202020204" pitchFamily="34" charset="0"/>
              <a:buChar char="•"/>
              <a:defRPr sz="1398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259776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086601-4C9D-440B-9FA9-C9983932E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4362" y="2638152"/>
            <a:ext cx="9326166" cy="941685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E3FFCDD-A762-499E-AE4E-7E5491ECF0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54362" y="3673747"/>
            <a:ext cx="9326166" cy="523733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77" indent="0" algn="ctr">
              <a:buNone/>
              <a:defRPr sz="2040"/>
            </a:lvl2pPr>
            <a:lvl3pPr marL="932554" indent="0" algn="ctr">
              <a:buNone/>
              <a:defRPr sz="1836"/>
            </a:lvl3pPr>
            <a:lvl4pPr marL="1398830" indent="0" algn="ctr">
              <a:buNone/>
              <a:defRPr sz="1632"/>
            </a:lvl4pPr>
            <a:lvl5pPr marL="1865106" indent="0" algn="ctr">
              <a:buNone/>
              <a:defRPr sz="1632"/>
            </a:lvl5pPr>
            <a:lvl6pPr marL="2331383" indent="0" algn="ctr">
              <a:buNone/>
              <a:defRPr sz="1632"/>
            </a:lvl6pPr>
            <a:lvl7pPr marL="2797660" indent="0" algn="ctr">
              <a:buNone/>
              <a:defRPr sz="1632"/>
            </a:lvl7pPr>
            <a:lvl8pPr marL="3263937" indent="0" algn="ctr">
              <a:buNone/>
              <a:defRPr sz="1632"/>
            </a:lvl8pPr>
            <a:lvl9pPr marL="3730213" indent="0" algn="ctr">
              <a:buNone/>
              <a:defRPr sz="1632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DD8E3B-8F27-46C6-AD7C-5F4CA94410D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1745" y="6504910"/>
            <a:ext cx="2860024" cy="282513"/>
          </a:xfrm>
        </p:spPr>
        <p:txBody>
          <a:bodyPr/>
          <a:lstStyle/>
          <a:p>
            <a:fld id="{F6586E5A-D78E-4250-924E-9CF00D391AB7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5F658-F11B-40A2-8842-2F21B5EA8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27862" y="6504910"/>
            <a:ext cx="3979164" cy="282513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2D5633-800E-4ECB-9D2E-87B3A6ACE4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53120" y="6504910"/>
            <a:ext cx="2860024" cy="282513"/>
          </a:xfrm>
        </p:spPr>
        <p:txBody>
          <a:bodyPr/>
          <a:lstStyle/>
          <a:p>
            <a:fld id="{8DB123EE-2F98-4189-8764-89B3BD27CA9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0526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667" y="2125678"/>
            <a:ext cx="9142769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66" y="3955786"/>
            <a:ext cx="7314204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61" y="5915185"/>
            <a:ext cx="2236970" cy="82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402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03" y="1212851"/>
            <a:ext cx="11885684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14725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11894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03" y="2125663"/>
            <a:ext cx="11885684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95176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04" y="1212849"/>
            <a:ext cx="54856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52" indent="0">
              <a:buNone/>
              <a:tabLst/>
              <a:defRPr sz="2000"/>
            </a:lvl3pPr>
            <a:lvl4pPr marL="460329" indent="0">
              <a:buNone/>
              <a:defRPr/>
            </a:lvl4pPr>
            <a:lvl5pPr marL="68573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4588" y="1212849"/>
            <a:ext cx="54856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52" indent="0">
              <a:buNone/>
              <a:tabLst/>
              <a:defRPr sz="2000"/>
            </a:lvl3pPr>
            <a:lvl4pPr marL="460329" indent="0">
              <a:buNone/>
              <a:defRPr/>
            </a:lvl4pPr>
            <a:lvl5pPr marL="68573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9599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72864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C20C272-8E66-429C-A9F7-1C4E612DB65F}"/>
              </a:ext>
            </a:extLst>
          </p:cNvPr>
          <p:cNvCxnSpPr>
            <a:cxnSpLocks/>
          </p:cNvCxnSpPr>
          <p:nvPr userDrawn="1"/>
        </p:nvCxnSpPr>
        <p:spPr>
          <a:xfrm>
            <a:off x="12132749" y="1853549"/>
            <a:ext cx="0" cy="724711"/>
          </a:xfrm>
          <a:prstGeom prst="line">
            <a:avLst/>
          </a:prstGeom>
          <a:ln>
            <a:solidFill>
              <a:srgbClr val="D83B0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95838" y="597747"/>
            <a:ext cx="1393662" cy="298433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8882" y="1193732"/>
            <a:ext cx="11835810" cy="5501259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51028" fontAlgn="base">
              <a:spcBef>
                <a:spcPct val="0"/>
              </a:spcBef>
              <a:spcAft>
                <a:spcPct val="0"/>
              </a:spcAft>
            </a:pPr>
            <a:endParaRPr lang="en-US" sz="204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906857" y="3136130"/>
            <a:ext cx="2367734" cy="14580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51304" rtl="0" eaLnBrk="1" fontAlgn="auto" latinLnBrk="0" hangingPunct="1">
              <a:lnSpc>
                <a:spcPct val="10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52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51304" rtl="0" eaLnBrk="1" fontAlgn="auto" latinLnBrk="0" hangingPunct="1">
              <a:lnSpc>
                <a:spcPct val="10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52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51304" rtl="0" eaLnBrk="1" fontAlgn="auto" latinLnBrk="0" hangingPunct="1">
              <a:lnSpc>
                <a:spcPct val="100000"/>
              </a:lnSpc>
              <a:spcBef>
                <a:spcPts val="81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52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97585" y="3247133"/>
            <a:ext cx="2766341" cy="1394459"/>
          </a:xfrm>
          <a:prstGeom prst="rect">
            <a:avLst/>
          </a:prstGeom>
          <a:effectLst/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786210CF-A0F8-409C-A4D3-027E8C0B2F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r="6311"/>
          <a:stretch/>
        </p:blipFill>
        <p:spPr>
          <a:xfrm>
            <a:off x="8891189" y="1852314"/>
            <a:ext cx="3543699" cy="42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5594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36EA2AC-FEA2-4901-8495-272A5FA7FC20}"/>
              </a:ext>
            </a:extLst>
          </p:cNvPr>
          <p:cNvGrpSpPr/>
          <p:nvPr userDrawn="1"/>
        </p:nvGrpSpPr>
        <p:grpSpPr>
          <a:xfrm>
            <a:off x="6318011" y="-1"/>
            <a:ext cx="6116878" cy="6994526"/>
            <a:chOff x="6194603" y="-1"/>
            <a:chExt cx="5997398" cy="6858001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A096FE2B-3270-4E2C-AD0E-3AB4FD1B86F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28473" b="6474"/>
            <a:stretch/>
          </p:blipFill>
          <p:spPr>
            <a:xfrm>
              <a:off x="8502819" y="1461694"/>
              <a:ext cx="3689182" cy="5396306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94A5D7CE-1FED-4CEA-810D-4198E992429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1821"/>
            <a:stretch/>
          </p:blipFill>
          <p:spPr>
            <a:xfrm>
              <a:off x="7548652" y="-1"/>
              <a:ext cx="1182753" cy="1076699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9BF408BE-3FB0-4FA0-B683-0E647B7E04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30214"/>
            <a:stretch/>
          </p:blipFill>
          <p:spPr>
            <a:xfrm>
              <a:off x="6194603" y="5896894"/>
              <a:ext cx="1182753" cy="961106"/>
            </a:xfrm>
            <a:prstGeom prst="rect">
              <a:avLst/>
            </a:prstGeom>
          </p:spPr>
        </p:pic>
      </p:grpSp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95838" y="597450"/>
            <a:ext cx="1393662" cy="2984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981" y="3038854"/>
            <a:ext cx="6062008" cy="565027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93636" y="4041282"/>
            <a:ext cx="6062008" cy="31390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4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95417" y="597450"/>
            <a:ext cx="2745253" cy="282513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5130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36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>
                <a:latin typeface="+mj-lt"/>
              </a:rPr>
              <a:t>Session code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2495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8072" y="1462924"/>
            <a:ext cx="11238030" cy="164487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33149" indent="0">
              <a:buNone/>
              <a:defRPr/>
            </a:lvl2pPr>
            <a:lvl3pPr marL="466298" indent="0">
              <a:buNone/>
              <a:defRPr/>
            </a:lvl3pPr>
            <a:lvl4pPr marL="699447" indent="0">
              <a:buNone/>
              <a:defRPr/>
            </a:lvl4pPr>
            <a:lvl5pPr marL="93259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5186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5838" y="1464074"/>
            <a:ext cx="11238030" cy="164487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001094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5838" y="1463669"/>
            <a:ext cx="5315915" cy="1682523"/>
          </a:xfrm>
        </p:spPr>
        <p:txBody>
          <a:bodyPr wrap="square">
            <a:spAutoFit/>
          </a:bodyPr>
          <a:lstStyle>
            <a:lvl1pPr marL="0" indent="0">
              <a:spcBef>
                <a:spcPts val="1248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56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60674" indent="0">
              <a:buFont typeface="Wingdings" panose="05000000000000000000" pitchFamily="2" charset="2"/>
              <a:buNone/>
              <a:defRPr sz="2040" b="0"/>
            </a:lvl2pPr>
            <a:lvl3pPr marL="459822" indent="0">
              <a:buFont typeface="Wingdings" panose="05000000000000000000" pitchFamily="2" charset="2"/>
              <a:buNone/>
              <a:tabLst/>
              <a:defRPr sz="1632" b="0"/>
            </a:lvl3pPr>
            <a:lvl4pPr marL="665446" indent="0">
              <a:buFont typeface="Wingdings" panose="05000000000000000000" pitchFamily="2" charset="2"/>
              <a:buNone/>
              <a:defRPr sz="1428" b="0"/>
            </a:lvl4pPr>
            <a:lvl5pPr marL="871071" indent="0">
              <a:buFont typeface="Wingdings" panose="05000000000000000000" pitchFamily="2" charset="2"/>
              <a:buNone/>
              <a:tabLst/>
              <a:defRPr sz="1428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24615" y="1463669"/>
            <a:ext cx="5315915" cy="1682523"/>
          </a:xfrm>
        </p:spPr>
        <p:txBody>
          <a:bodyPr wrap="square">
            <a:spAutoFit/>
          </a:bodyPr>
          <a:lstStyle>
            <a:lvl1pPr marL="0" indent="0">
              <a:spcBef>
                <a:spcPts val="1248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56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60674" indent="0">
              <a:buFont typeface="Wingdings" panose="05000000000000000000" pitchFamily="2" charset="2"/>
              <a:buNone/>
              <a:defRPr sz="2040" b="0"/>
            </a:lvl2pPr>
            <a:lvl3pPr marL="459822" indent="0">
              <a:buFont typeface="Wingdings" panose="05000000000000000000" pitchFamily="2" charset="2"/>
              <a:buNone/>
              <a:tabLst/>
              <a:defRPr sz="1632" b="0"/>
            </a:lvl3pPr>
            <a:lvl4pPr marL="665446" indent="0">
              <a:buFont typeface="Wingdings" panose="05000000000000000000" pitchFamily="2" charset="2"/>
              <a:buNone/>
              <a:defRPr sz="1428" b="0"/>
            </a:lvl4pPr>
            <a:lvl5pPr marL="871071" indent="0">
              <a:buFont typeface="Wingdings" panose="05000000000000000000" pitchFamily="2" charset="2"/>
              <a:buNone/>
              <a:tabLst/>
              <a:defRPr sz="1428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045936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5838" y="1466097"/>
            <a:ext cx="5315915" cy="1682523"/>
          </a:xfrm>
        </p:spPr>
        <p:txBody>
          <a:bodyPr wrap="square">
            <a:spAutoFit/>
          </a:bodyPr>
          <a:lstStyle>
            <a:lvl1pPr marL="236387" indent="-236387">
              <a:spcBef>
                <a:spcPts val="1248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56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35536" indent="-174862">
              <a:buFont typeface="Wingdings" panose="05000000000000000000" pitchFamily="2" charset="2"/>
              <a:buChar char=""/>
              <a:defRPr sz="2040" b="0"/>
            </a:lvl2pPr>
            <a:lvl3pPr marL="652494" indent="-192672">
              <a:buFont typeface="Wingdings" panose="05000000000000000000" pitchFamily="2" charset="2"/>
              <a:buChar char=""/>
              <a:tabLst/>
              <a:defRPr sz="1632" b="0"/>
            </a:lvl3pPr>
            <a:lvl4pPr marL="845166" indent="-179720">
              <a:buFont typeface="Wingdings" panose="05000000000000000000" pitchFamily="2" charset="2"/>
              <a:buChar char=""/>
              <a:defRPr sz="1428" b="0"/>
            </a:lvl4pPr>
            <a:lvl5pPr marL="1044314" indent="-173243">
              <a:buFont typeface="Wingdings" panose="05000000000000000000" pitchFamily="2" charset="2"/>
              <a:buChar char=""/>
              <a:tabLst/>
              <a:defRPr sz="1428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17213" y="1466097"/>
            <a:ext cx="5315915" cy="1682523"/>
          </a:xfrm>
        </p:spPr>
        <p:txBody>
          <a:bodyPr wrap="square">
            <a:spAutoFit/>
          </a:bodyPr>
          <a:lstStyle>
            <a:lvl1pPr marL="236387" indent="-236387">
              <a:spcBef>
                <a:spcPts val="1248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56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35536" indent="-174862">
              <a:buFont typeface="Wingdings" panose="05000000000000000000" pitchFamily="2" charset="2"/>
              <a:buChar char=""/>
              <a:defRPr sz="2040" b="0"/>
            </a:lvl2pPr>
            <a:lvl3pPr marL="652494" indent="-192672">
              <a:buFont typeface="Wingdings" panose="05000000000000000000" pitchFamily="2" charset="2"/>
              <a:buChar char=""/>
              <a:tabLst/>
              <a:defRPr sz="1632" b="0"/>
            </a:lvl3pPr>
            <a:lvl4pPr marL="845166" indent="-179720">
              <a:buFont typeface="Wingdings" panose="05000000000000000000" pitchFamily="2" charset="2"/>
              <a:buChar char=""/>
              <a:defRPr sz="1428" b="0"/>
            </a:lvl4pPr>
            <a:lvl5pPr marL="1044314" indent="-173243">
              <a:buFont typeface="Wingdings" panose="05000000000000000000" pitchFamily="2" charset="2"/>
              <a:buChar char=""/>
              <a:tabLst/>
              <a:defRPr sz="1428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66991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17952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91092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839" y="466302"/>
            <a:ext cx="5618157" cy="379824"/>
          </a:xfrm>
        </p:spPr>
        <p:txBody>
          <a:bodyPr tIns="64008"/>
          <a:lstStyle>
            <a:lvl1pPr>
              <a:defRPr sz="204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81068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151.xml"/><Relationship Id="rId16" Type="http://schemas.openxmlformats.org/officeDocument/2006/relationships/theme" Target="../theme/theme10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5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slideLayout" Target="../slideLayouts/slideLayout16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171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75.xml"/><Relationship Id="rId5" Type="http://schemas.openxmlformats.org/officeDocument/2006/relationships/slideLayout" Target="../slideLayouts/slideLayout169.xml"/><Relationship Id="rId10" Type="http://schemas.openxmlformats.org/officeDocument/2006/relationships/slideLayout" Target="../slideLayouts/slideLayout174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3.xml"/><Relationship Id="rId13" Type="http://schemas.openxmlformats.org/officeDocument/2006/relationships/slideLayout" Target="../slideLayouts/slideLayout188.xml"/><Relationship Id="rId18" Type="http://schemas.openxmlformats.org/officeDocument/2006/relationships/slideLayout" Target="../slideLayouts/slideLayout193.xml"/><Relationship Id="rId26" Type="http://schemas.openxmlformats.org/officeDocument/2006/relationships/slideLayout" Target="../slideLayouts/slideLayout201.xml"/><Relationship Id="rId39" Type="http://schemas.openxmlformats.org/officeDocument/2006/relationships/image" Target="../media/image29.emf"/><Relationship Id="rId3" Type="http://schemas.openxmlformats.org/officeDocument/2006/relationships/slideLayout" Target="../slideLayouts/slideLayout178.xml"/><Relationship Id="rId21" Type="http://schemas.openxmlformats.org/officeDocument/2006/relationships/slideLayout" Target="../slideLayouts/slideLayout196.xml"/><Relationship Id="rId34" Type="http://schemas.openxmlformats.org/officeDocument/2006/relationships/slideLayout" Target="../slideLayouts/slideLayout209.xml"/><Relationship Id="rId42" Type="http://schemas.openxmlformats.org/officeDocument/2006/relationships/image" Target="../media/image34.emf"/><Relationship Id="rId7" Type="http://schemas.openxmlformats.org/officeDocument/2006/relationships/slideLayout" Target="../slideLayouts/slideLayout182.xml"/><Relationship Id="rId12" Type="http://schemas.openxmlformats.org/officeDocument/2006/relationships/slideLayout" Target="../slideLayouts/slideLayout187.xml"/><Relationship Id="rId17" Type="http://schemas.openxmlformats.org/officeDocument/2006/relationships/slideLayout" Target="../slideLayouts/slideLayout192.xml"/><Relationship Id="rId25" Type="http://schemas.openxmlformats.org/officeDocument/2006/relationships/slideLayout" Target="../slideLayouts/slideLayout200.xml"/><Relationship Id="rId33" Type="http://schemas.openxmlformats.org/officeDocument/2006/relationships/slideLayout" Target="../slideLayouts/slideLayout208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177.xml"/><Relationship Id="rId16" Type="http://schemas.openxmlformats.org/officeDocument/2006/relationships/slideLayout" Target="../slideLayouts/slideLayout191.xml"/><Relationship Id="rId20" Type="http://schemas.openxmlformats.org/officeDocument/2006/relationships/slideLayout" Target="../slideLayouts/slideLayout195.xml"/><Relationship Id="rId29" Type="http://schemas.openxmlformats.org/officeDocument/2006/relationships/slideLayout" Target="../slideLayouts/slideLayout204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86.xml"/><Relationship Id="rId24" Type="http://schemas.openxmlformats.org/officeDocument/2006/relationships/slideLayout" Target="../slideLayouts/slideLayout199.xml"/><Relationship Id="rId32" Type="http://schemas.openxmlformats.org/officeDocument/2006/relationships/slideLayout" Target="../slideLayouts/slideLayout207.xml"/><Relationship Id="rId37" Type="http://schemas.openxmlformats.org/officeDocument/2006/relationships/tags" Target="../tags/tag1.xml"/><Relationship Id="rId40" Type="http://schemas.openxmlformats.org/officeDocument/2006/relationships/image" Target="../media/image35.png"/><Relationship Id="rId5" Type="http://schemas.openxmlformats.org/officeDocument/2006/relationships/slideLayout" Target="../slideLayouts/slideLayout180.xml"/><Relationship Id="rId15" Type="http://schemas.openxmlformats.org/officeDocument/2006/relationships/slideLayout" Target="../slideLayouts/slideLayout190.xml"/><Relationship Id="rId23" Type="http://schemas.openxmlformats.org/officeDocument/2006/relationships/slideLayout" Target="../slideLayouts/slideLayout198.xml"/><Relationship Id="rId28" Type="http://schemas.openxmlformats.org/officeDocument/2006/relationships/slideLayout" Target="../slideLayouts/slideLayout203.xml"/><Relationship Id="rId36" Type="http://schemas.openxmlformats.org/officeDocument/2006/relationships/vmlDrawing" Target="../drawings/vmlDrawing1.vml"/><Relationship Id="rId10" Type="http://schemas.openxmlformats.org/officeDocument/2006/relationships/slideLayout" Target="../slideLayouts/slideLayout185.xml"/><Relationship Id="rId19" Type="http://schemas.openxmlformats.org/officeDocument/2006/relationships/slideLayout" Target="../slideLayouts/slideLayout194.xml"/><Relationship Id="rId31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4.xml"/><Relationship Id="rId14" Type="http://schemas.openxmlformats.org/officeDocument/2006/relationships/slideLayout" Target="../slideLayouts/slideLayout189.xml"/><Relationship Id="rId22" Type="http://schemas.openxmlformats.org/officeDocument/2006/relationships/slideLayout" Target="../slideLayouts/slideLayout197.xml"/><Relationship Id="rId27" Type="http://schemas.openxmlformats.org/officeDocument/2006/relationships/slideLayout" Target="../slideLayouts/slideLayout202.xml"/><Relationship Id="rId30" Type="http://schemas.openxmlformats.org/officeDocument/2006/relationships/slideLayout" Target="../slideLayouts/slideLayout205.xml"/><Relationship Id="rId35" Type="http://schemas.openxmlformats.org/officeDocument/2006/relationships/theme" Target="../theme/theme1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58.xml"/><Relationship Id="rId21" Type="http://schemas.openxmlformats.org/officeDocument/2006/relationships/image" Target="../media/image12.emf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8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93.xml"/><Relationship Id="rId21" Type="http://schemas.openxmlformats.org/officeDocument/2006/relationships/theme" Target="../theme/theme7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image" Target="../media/image12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3.xml"/><Relationship Id="rId18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20" Type="http://schemas.openxmlformats.org/officeDocument/2006/relationships/image" Target="../media/image12.emf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20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31.xml"/><Relationship Id="rId21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20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23" Type="http://schemas.openxmlformats.org/officeDocument/2006/relationships/image" Target="../media/image29.emf"/><Relationship Id="rId10" Type="http://schemas.openxmlformats.org/officeDocument/2006/relationships/slideLayout" Target="../slideLayouts/slideLayout138.xml"/><Relationship Id="rId19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Relationship Id="rId22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04" y="295275"/>
            <a:ext cx="11888047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nl-NL"/>
              <a:t>Titelstijl van model bewerk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05" y="1212852"/>
            <a:ext cx="11885681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9" r:id="rId1"/>
    <p:sldLayoutId id="2147484300" r:id="rId2"/>
    <p:sldLayoutId id="2147484322" r:id="rId3"/>
    <p:sldLayoutId id="2147484295" r:id="rId4"/>
    <p:sldLayoutId id="2147484240" r:id="rId5"/>
    <p:sldLayoutId id="2147484296" r:id="rId6"/>
    <p:sldLayoutId id="2147484241" r:id="rId7"/>
    <p:sldLayoutId id="2147484297" r:id="rId8"/>
    <p:sldLayoutId id="2147484244" r:id="rId9"/>
    <p:sldLayoutId id="2147484298" r:id="rId10"/>
    <p:sldLayoutId id="2147484245" r:id="rId11"/>
    <p:sldLayoutId id="2147484247" r:id="rId12"/>
    <p:sldLayoutId id="2147484249" r:id="rId13"/>
    <p:sldLayoutId id="2147484301" r:id="rId14"/>
    <p:sldLayoutId id="2147484251" r:id="rId15"/>
    <p:sldLayoutId id="2147484254" r:id="rId16"/>
    <p:sldLayoutId id="2147484260" r:id="rId17"/>
    <p:sldLayoutId id="2147484299" r:id="rId18"/>
    <p:sldLayoutId id="2147484263" r:id="rId19"/>
    <p:sldLayoutId id="2147484344" r:id="rId20"/>
    <p:sldLayoutId id="2147484565" r:id="rId21"/>
    <p:sldLayoutId id="2147484566" r:id="rId22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xStyles>
    <p:titleStyle>
      <a:lvl1pPr algn="l" defTabSz="932649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66" marR="0" indent="-342866" algn="l" defTabSz="93264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142" marR="0" indent="-241276" algn="l" defTabSz="93264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020" marR="0" indent="-228577" algn="l" defTabSz="93264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97" marR="0" indent="-228577" algn="l" defTabSz="93264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174" marR="0" indent="-228577" algn="l" defTabSz="93264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783" indent="-233163" algn="l" defTabSz="93264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109" indent="-233163" algn="l" defTabSz="93264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433" indent="-233163" algn="l" defTabSz="93264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759" indent="-233163" algn="l" defTabSz="93264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24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49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73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297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623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946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271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596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 userDrawn="1">
          <p15:clr>
            <a:srgbClr val="5ACBF0"/>
          </p15:clr>
        </p15:guide>
        <p15:guide id="2" pos="173" userDrawn="1">
          <p15:clr>
            <a:srgbClr val="5ACBF0"/>
          </p15:clr>
        </p15:guide>
        <p15:guide id="3" pos="749" userDrawn="1">
          <p15:clr>
            <a:srgbClr val="5ACBF0"/>
          </p15:clr>
        </p15:guide>
        <p15:guide id="4" pos="1325" userDrawn="1">
          <p15:clr>
            <a:srgbClr val="5ACBF0"/>
          </p15:clr>
        </p15:guide>
        <p15:guide id="5" pos="1901" userDrawn="1">
          <p15:clr>
            <a:srgbClr val="5ACBF0"/>
          </p15:clr>
        </p15:guide>
        <p15:guide id="6" pos="2477" userDrawn="1">
          <p15:clr>
            <a:srgbClr val="5ACBF0"/>
          </p15:clr>
        </p15:guide>
        <p15:guide id="7" pos="3053" userDrawn="1">
          <p15:clr>
            <a:srgbClr val="5ACBF0"/>
          </p15:clr>
        </p15:guide>
        <p15:guide id="8" pos="3629" userDrawn="1">
          <p15:clr>
            <a:srgbClr val="5ACBF0"/>
          </p15:clr>
        </p15:guide>
        <p15:guide id="9" pos="4204" userDrawn="1">
          <p15:clr>
            <a:srgbClr val="5ACBF0"/>
          </p15:clr>
        </p15:guide>
        <p15:guide id="10" pos="4780" userDrawn="1">
          <p15:clr>
            <a:srgbClr val="5ACBF0"/>
          </p15:clr>
        </p15:guide>
        <p15:guide id="11" pos="5356" userDrawn="1">
          <p15:clr>
            <a:srgbClr val="5ACBF0"/>
          </p15:clr>
        </p15:guide>
        <p15:guide id="12" pos="5932" userDrawn="1">
          <p15:clr>
            <a:srgbClr val="5ACBF0"/>
          </p15:clr>
        </p15:guide>
        <p15:guide id="13" pos="6508" userDrawn="1">
          <p15:clr>
            <a:srgbClr val="5ACBF0"/>
          </p15:clr>
        </p15:guide>
        <p15:guide id="14" pos="7084" userDrawn="1">
          <p15:clr>
            <a:srgbClr val="5ACBF0"/>
          </p15:clr>
        </p15:guide>
        <p15:guide id="15" pos="7660" userDrawn="1">
          <p15:clr>
            <a:srgbClr val="5ACBF0"/>
          </p15:clr>
        </p15:guide>
        <p15:guide id="16" pos="288" userDrawn="1">
          <p15:clr>
            <a:srgbClr val="C35EA4"/>
          </p15:clr>
        </p15:guide>
        <p15:guide id="17" pos="7545" userDrawn="1">
          <p15:clr>
            <a:srgbClr val="C35EA4"/>
          </p15:clr>
        </p15:guide>
        <p15:guide id="18" orient="horz" pos="763" userDrawn="1">
          <p15:clr>
            <a:srgbClr val="5ACBF0"/>
          </p15:clr>
        </p15:guide>
        <p15:guide id="19" orient="horz" pos="1339" userDrawn="1">
          <p15:clr>
            <a:srgbClr val="5ACBF0"/>
          </p15:clr>
        </p15:guide>
        <p15:guide id="20" orient="horz" pos="1915" userDrawn="1">
          <p15:clr>
            <a:srgbClr val="5ACBF0"/>
          </p15:clr>
        </p15:guide>
        <p15:guide id="21" orient="horz" pos="2491" userDrawn="1">
          <p15:clr>
            <a:srgbClr val="5ACBF0"/>
          </p15:clr>
        </p15:guide>
        <p15:guide id="22" orient="horz" pos="3067" userDrawn="1">
          <p15:clr>
            <a:srgbClr val="5ACBF0"/>
          </p15:clr>
        </p15:guide>
        <p15:guide id="23" orient="horz" pos="3643" userDrawn="1">
          <p15:clr>
            <a:srgbClr val="5ACBF0"/>
          </p15:clr>
        </p15:guide>
        <p15:guide id="24" orient="horz" pos="4219" userDrawn="1">
          <p15:clr>
            <a:srgbClr val="5ACBF0"/>
          </p15:clr>
        </p15:guide>
        <p15:guide id="25" orient="horz" pos="302" userDrawn="1">
          <p15:clr>
            <a:srgbClr val="C35EA4"/>
          </p15:clr>
        </p15:guide>
        <p15:guide id="26" orient="horz" pos="4104" userDrawn="1">
          <p15:clr>
            <a:srgbClr val="C35EA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04" y="295275"/>
            <a:ext cx="11888047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06" y="1212851"/>
            <a:ext cx="11885681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 rot="5400000">
            <a:off x="9392254" y="3050571"/>
            <a:ext cx="6995160" cy="894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609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0" r:id="rId1"/>
    <p:sldLayoutId id="2147484591" r:id="rId2"/>
    <p:sldLayoutId id="2147484592" r:id="rId3"/>
    <p:sldLayoutId id="2147484593" r:id="rId4"/>
    <p:sldLayoutId id="2147484594" r:id="rId5"/>
    <p:sldLayoutId id="2147484595" r:id="rId6"/>
    <p:sldLayoutId id="2147484596" r:id="rId7"/>
    <p:sldLayoutId id="2147484597" r:id="rId8"/>
    <p:sldLayoutId id="2147484598" r:id="rId9"/>
    <p:sldLayoutId id="2147484599" r:id="rId10"/>
    <p:sldLayoutId id="2147484600" r:id="rId11"/>
    <p:sldLayoutId id="2147484601" r:id="rId12"/>
    <p:sldLayoutId id="2147484602" r:id="rId13"/>
    <p:sldLayoutId id="2147484603" r:id="rId14"/>
    <p:sldLayoutId id="2147484604" r:id="rId15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140AE8F5-A67B-447D-B393-A54D04589A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4899" y="372394"/>
            <a:ext cx="10725091" cy="1351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7EEC47C3-CF8E-4048-8BC0-50F7EA5F9D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4899" y="1861968"/>
            <a:ext cx="10725091" cy="4437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D10411F7-09EE-463B-927F-9AD5FA9B6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4898" y="6482889"/>
            <a:ext cx="2797850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95BAC7-6CDF-4325-808F-C9DF8C12B9C8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D42DD6B-4F0E-4C74-8498-996441FC78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19057" y="6482889"/>
            <a:ext cx="4196775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6A47F3A-654F-4727-8AB7-9C40324569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2140" y="6482889"/>
            <a:ext cx="2797850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7BD71B-F032-4648-88D5-C7BC70E251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075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9" r:id="rId1"/>
    <p:sldLayoutId id="2147484640" r:id="rId2"/>
    <p:sldLayoutId id="2147484641" r:id="rId3"/>
    <p:sldLayoutId id="2147484642" r:id="rId4"/>
    <p:sldLayoutId id="2147484643" r:id="rId5"/>
    <p:sldLayoutId id="2147484644" r:id="rId6"/>
    <p:sldLayoutId id="2147484645" r:id="rId7"/>
    <p:sldLayoutId id="2147484646" r:id="rId8"/>
    <p:sldLayoutId id="2147484647" r:id="rId9"/>
    <p:sldLayoutId id="2147484648" r:id="rId10"/>
    <p:sldLayoutId id="2147484649" r:id="rId11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xStyles>
    <p:titleStyle>
      <a:lvl1pPr algn="l" defTabSz="932597" rtl="0" eaLnBrk="1" latinLnBrk="0" hangingPunct="1">
        <a:lnSpc>
          <a:spcPct val="90000"/>
        </a:lnSpc>
        <a:spcBef>
          <a:spcPct val="0"/>
        </a:spcBef>
        <a:buNone/>
        <a:defRPr sz="448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149" indent="-233149" algn="l" defTabSz="932597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6" kern="1200">
          <a:solidFill>
            <a:schemeClr val="tx1"/>
          </a:solidFill>
          <a:latin typeface="+mn-lt"/>
          <a:ea typeface="+mn-ea"/>
          <a:cs typeface="+mn-cs"/>
        </a:defRPr>
      </a:lvl1pPr>
      <a:lvl2pPr marL="69944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165746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632044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2098342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564641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3030939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49723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963535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4920" y="444500"/>
            <a:ext cx="11561875" cy="758825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46032" y="1903775"/>
            <a:ext cx="11561875" cy="13018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881887" y="3072037"/>
            <a:ext cx="6995160" cy="84981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F66C9DB-A981-45BC-B811-A6F95811A81C}"/>
              </a:ext>
            </a:extLst>
          </p:cNvPr>
          <p:cNvPicPr>
            <a:picLocks noChangeAspect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20019" y="3285725"/>
            <a:ext cx="6994525" cy="423076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BF6262-5896-495A-B212-86921074EB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</p:nvPr>
        </p:nvGraphicFramePr>
        <p:xfrm>
          <a:off x="1619" y="1619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1" imgW="631" imgH="631" progId="TCLayout.ActiveDocument.1">
                  <p:embed/>
                </p:oleObj>
              </mc:Choice>
              <mc:Fallback>
                <p:oleObj name="think-cell Slide" r:id="rId41" imgW="631" imgH="6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BF6262-5896-495A-B212-86921074EB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619" y="1619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63568C6-88F6-4F5A-AD99-44D9BAF9CE0A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0" y="0"/>
            <a:ext cx="161913" cy="16191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4336" b="0" i="0" baseline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598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1" r:id="rId1"/>
    <p:sldLayoutId id="2147484652" r:id="rId2"/>
    <p:sldLayoutId id="2147484653" r:id="rId3"/>
    <p:sldLayoutId id="2147484654" r:id="rId4"/>
    <p:sldLayoutId id="2147484655" r:id="rId5"/>
    <p:sldLayoutId id="2147484656" r:id="rId6"/>
    <p:sldLayoutId id="2147484657" r:id="rId7"/>
    <p:sldLayoutId id="2147484658" r:id="rId8"/>
    <p:sldLayoutId id="2147484659" r:id="rId9"/>
    <p:sldLayoutId id="2147484660" r:id="rId10"/>
    <p:sldLayoutId id="2147484661" r:id="rId11"/>
    <p:sldLayoutId id="2147484662" r:id="rId12"/>
    <p:sldLayoutId id="2147484663" r:id="rId13"/>
    <p:sldLayoutId id="2147484664" r:id="rId14"/>
    <p:sldLayoutId id="2147484665" r:id="rId15"/>
    <p:sldLayoutId id="2147484666" r:id="rId16"/>
    <p:sldLayoutId id="2147484667" r:id="rId17"/>
    <p:sldLayoutId id="2147484668" r:id="rId18"/>
    <p:sldLayoutId id="2147484669" r:id="rId19"/>
    <p:sldLayoutId id="2147484670" r:id="rId20"/>
    <p:sldLayoutId id="2147484671" r:id="rId21"/>
    <p:sldLayoutId id="2147484672" r:id="rId22"/>
    <p:sldLayoutId id="2147484673" r:id="rId23"/>
    <p:sldLayoutId id="2147484674" r:id="rId24"/>
    <p:sldLayoutId id="2147484675" r:id="rId25"/>
    <p:sldLayoutId id="2147484676" r:id="rId26"/>
    <p:sldLayoutId id="2147484677" r:id="rId27"/>
    <p:sldLayoutId id="2147484678" r:id="rId28"/>
    <p:sldLayoutId id="2147484679" r:id="rId29"/>
    <p:sldLayoutId id="2147484680" r:id="rId30"/>
    <p:sldLayoutId id="2147484681" r:id="rId31"/>
    <p:sldLayoutId id="2147484682" r:id="rId32"/>
    <p:sldLayoutId id="2147484683" r:id="rId33"/>
    <p:sldLayoutId id="2147484684" r:id="rId34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dt="0"/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3199" b="0" kern="1200" cap="none" spc="-150" baseline="0" dirty="0" smtClean="0">
          <a:ln w="3175">
            <a:noFill/>
          </a:ln>
          <a:solidFill>
            <a:srgbClr val="000000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32563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600" kern="1200" spc="0" baseline="0">
          <a:solidFill>
            <a:srgbClr val="000000"/>
          </a:solidFill>
          <a:latin typeface="+mn-lt"/>
          <a:ea typeface="+mn-ea"/>
          <a:cs typeface="+mn-cs"/>
        </a:defRPr>
      </a:lvl1pPr>
      <a:lvl2pPr marL="228557" marR="0" indent="0" algn="l" defTabSz="932563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000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457112" marR="0" indent="0" algn="l" defTabSz="932563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99" kern="1200" spc="0" baseline="0">
          <a:solidFill>
            <a:srgbClr val="000000"/>
          </a:solidFill>
          <a:latin typeface="+mn-lt"/>
          <a:ea typeface="+mn-ea"/>
          <a:cs typeface="+mn-cs"/>
        </a:defRPr>
      </a:lvl3pPr>
      <a:lvl4pPr marL="685669" marR="0" indent="0" algn="l" defTabSz="932563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99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914224" marR="0" indent="0" algn="l" defTabSz="932563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99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373">
          <p15:clr>
            <a:srgbClr val="C35EA4"/>
          </p15:clr>
        </p15:guide>
        <p15:guide id="4" pos="1517">
          <p15:clr>
            <a:srgbClr val="C35EA4"/>
          </p15:clr>
        </p15:guide>
        <p15:guide id="5" pos="2608">
          <p15:clr>
            <a:srgbClr val="C35EA4"/>
          </p15:clr>
        </p15:guide>
        <p15:guide id="6" pos="2751">
          <p15:clr>
            <a:srgbClr val="C35EA4"/>
          </p15:clr>
        </p15:guide>
        <p15:guide id="7" pos="3844">
          <p15:clr>
            <a:srgbClr val="C35EA4"/>
          </p15:clr>
        </p15:guide>
        <p15:guide id="8" pos="3989">
          <p15:clr>
            <a:srgbClr val="C35EA4"/>
          </p15:clr>
        </p15:guide>
        <p15:guide id="9" pos="5079">
          <p15:clr>
            <a:srgbClr val="C35EA4"/>
          </p15:clr>
        </p15:guide>
        <p15:guide id="10" pos="5222">
          <p15:clr>
            <a:srgbClr val="C35EA4"/>
          </p15:clr>
        </p15:guide>
        <p15:guide id="11" pos="6317">
          <p15:clr>
            <a:srgbClr val="C35EA4"/>
          </p15:clr>
        </p15:guide>
        <p15:guide id="12" pos="6460">
          <p15:clr>
            <a:srgbClr val="C35EA4"/>
          </p15:clr>
        </p15:guide>
        <p15:guide id="16" pos="274">
          <p15:clr>
            <a:srgbClr val="F26B43"/>
          </p15:clr>
        </p15:guide>
        <p15:guide id="17" pos="7558">
          <p15:clr>
            <a:srgbClr val="F26B43"/>
          </p15:clr>
        </p15:guide>
        <p15:guide id="18" orient="horz" pos="758">
          <p15:clr>
            <a:srgbClr val="5ACBF0"/>
          </p15:clr>
        </p15:guide>
        <p15:guide id="19" orient="horz" pos="1372">
          <p15:clr>
            <a:srgbClr val="5ACBF0"/>
          </p15:clr>
        </p15:guide>
        <p15:guide id="20" orient="horz" pos="612">
          <p15:clr>
            <a:srgbClr val="5ACBF0"/>
          </p15:clr>
        </p15:guide>
        <p15:guide id="21" orient="horz" pos="1515">
          <p15:clr>
            <a:srgbClr val="5ACBF0"/>
          </p15:clr>
        </p15:guide>
        <p15:guide id="22" orient="horz" pos="2127">
          <p15:clr>
            <a:srgbClr val="5ACBF0"/>
          </p15:clr>
        </p15:guide>
        <p15:guide id="23" orient="horz" pos="2275">
          <p15:clr>
            <a:srgbClr val="5ACBF0"/>
          </p15:clr>
        </p15:guide>
        <p15:guide id="25" orient="horz" pos="280">
          <p15:clr>
            <a:srgbClr val="F26B43"/>
          </p15:clr>
        </p15:guide>
        <p15:guide id="26" orient="horz" pos="4127">
          <p15:clr>
            <a:srgbClr val="F26B43"/>
          </p15:clr>
        </p15:guide>
        <p15:guide id="27" orient="horz" pos="2889">
          <p15:clr>
            <a:srgbClr val="5ACBF0"/>
          </p15:clr>
        </p15:guide>
        <p15:guide id="28" orient="horz" pos="3032">
          <p15:clr>
            <a:srgbClr val="5ACBF0"/>
          </p15:clr>
        </p15:guide>
        <p15:guide id="29" orient="horz" pos="3648">
          <p15:clr>
            <a:srgbClr val="5ACBF0"/>
          </p15:clr>
        </p15:guide>
        <p15:guide id="30" orient="horz" pos="3792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04" y="295275"/>
            <a:ext cx="11888047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05" y="1212852"/>
            <a:ext cx="11885681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marL="342866" marR="0" lvl="0" indent="-342866" algn="l" defTabSz="93264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/>
              <a:t>Click to edit Master text styles</a:t>
            </a:r>
          </a:p>
          <a:p>
            <a:pPr marL="584142" marR="0" lvl="1" indent="-241276" algn="l" defTabSz="93264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2590" y="0"/>
            <a:ext cx="957047" cy="5766966"/>
            <a:chOff x="12614199" y="0"/>
            <a:chExt cx="957169" cy="5766966"/>
          </a:xfrm>
        </p:grpSpPr>
        <p:grpSp>
          <p:nvGrpSpPr>
            <p:cNvPr id="22" name="Group 21"/>
            <p:cNvGrpSpPr/>
            <p:nvPr userDrawn="1"/>
          </p:nvGrpSpPr>
          <p:grpSpPr>
            <a:xfrm>
              <a:off x="12614199" y="0"/>
              <a:ext cx="957169" cy="5720411"/>
              <a:chOff x="12614199" y="0"/>
              <a:chExt cx="957169" cy="5720411"/>
            </a:xfrm>
          </p:grpSpPr>
          <p:grpSp>
            <p:nvGrpSpPr>
              <p:cNvPr id="23" name="Group 22"/>
              <p:cNvGrpSpPr/>
              <p:nvPr userDrawn="1"/>
            </p:nvGrpSpPr>
            <p:grpSpPr>
              <a:xfrm rot="5400000">
                <a:off x="11576884" y="1040118"/>
                <a:ext cx="2708636" cy="634005"/>
                <a:chOff x="1581150" y="4543426"/>
                <a:chExt cx="2708636" cy="634005"/>
              </a:xfrm>
            </p:grpSpPr>
            <p:sp>
              <p:nvSpPr>
                <p:cNvPr id="30" name="Rectangle 29"/>
                <p:cNvSpPr/>
                <p:nvPr userDrawn="1"/>
              </p:nvSpPr>
              <p:spPr bwMode="auto">
                <a:xfrm>
                  <a:off x="1586734" y="4543428"/>
                  <a:ext cx="869930" cy="28976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32379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 b="1" kern="12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Purple</a:t>
                  </a:r>
                </a:p>
                <a:p>
                  <a:pPr algn="l" defTabSz="932379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5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0 G:45 B:145</a:t>
                  </a:r>
                  <a:endParaRPr lang="en-US" sz="50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1" name="Rectangle 30"/>
                <p:cNvSpPr/>
                <p:nvPr userDrawn="1"/>
              </p:nvSpPr>
              <p:spPr bwMode="auto">
                <a:xfrm>
                  <a:off x="1581150" y="4887665"/>
                  <a:ext cx="869930" cy="289766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32379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 b="1" kern="12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Dark Purple</a:t>
                  </a:r>
                </a:p>
                <a:p>
                  <a:pPr algn="l" defTabSz="932379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5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50 G:20 B:90</a:t>
                  </a:r>
                  <a:endParaRPr lang="en-US" sz="50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2" name="Rectangle 31"/>
                <p:cNvSpPr/>
                <p:nvPr userDrawn="1"/>
              </p:nvSpPr>
              <p:spPr bwMode="auto">
                <a:xfrm>
                  <a:off x="3419856" y="4543426"/>
                  <a:ext cx="869930" cy="289766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3237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 b="1" kern="12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Blue</a:t>
                  </a:r>
                </a:p>
                <a:p>
                  <a:pPr algn="l" defTabSz="932379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500" baseline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0 G:120 B:215</a:t>
                  </a:r>
                  <a:endParaRPr lang="en-US" sz="50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3" name="Rectangle 32"/>
                <p:cNvSpPr/>
                <p:nvPr userDrawn="1"/>
              </p:nvSpPr>
              <p:spPr bwMode="auto">
                <a:xfrm>
                  <a:off x="2498744" y="4882896"/>
                  <a:ext cx="869930" cy="289766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3237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 b="1" kern="12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Magenta</a:t>
                  </a:r>
                </a:p>
                <a:p>
                  <a:pPr algn="l" defTabSz="932379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500" baseline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180 G:0 B:158</a:t>
                  </a:r>
                  <a:endParaRPr lang="en-US" sz="50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3" name="Rectangle 42"/>
                <p:cNvSpPr/>
                <p:nvPr userDrawn="1"/>
              </p:nvSpPr>
              <p:spPr bwMode="auto">
                <a:xfrm>
                  <a:off x="3413144" y="4882895"/>
                  <a:ext cx="869930" cy="289766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solidFill>
                    <a:schemeClr val="bg1">
                      <a:alpha val="25000"/>
                    </a:schemeClr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3237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 b="1" kern="1200" baseline="0">
                      <a:gradFill>
                        <a:gsLst>
                          <a:gs pos="66272">
                            <a:srgbClr val="000000"/>
                          </a:gs>
                          <a:gs pos="44000">
                            <a:srgbClr val="000000"/>
                          </a:gs>
                        </a:gsLst>
                        <a:lin ang="5400000" scaled="1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Light Gray</a:t>
                  </a:r>
                </a:p>
                <a:p>
                  <a:pPr marL="0" algn="l" defTabSz="93237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 kern="1200">
                      <a:gradFill>
                        <a:gsLst>
                          <a:gs pos="66272">
                            <a:srgbClr val="000000"/>
                          </a:gs>
                          <a:gs pos="44000">
                            <a:srgbClr val="000000"/>
                          </a:gs>
                        </a:gsLst>
                        <a:lin ang="5400000" scaled="1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R:234 G:234 B:234</a:t>
                  </a:r>
                </a:p>
              </p:txBody>
            </p:sp>
            <p:sp>
              <p:nvSpPr>
                <p:cNvPr id="44" name="Rectangle 43"/>
                <p:cNvSpPr/>
                <p:nvPr userDrawn="1"/>
              </p:nvSpPr>
              <p:spPr bwMode="auto">
                <a:xfrm>
                  <a:off x="2498745" y="4543428"/>
                  <a:ext cx="869930" cy="289766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3237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 b="1" kern="12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Dark Blue</a:t>
                  </a:r>
                </a:p>
                <a:p>
                  <a:pPr marL="0" algn="l" defTabSz="93237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 kern="1200" baseline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R:0 G:32 B:80</a:t>
                  </a:r>
                </a:p>
              </p:txBody>
            </p:sp>
          </p:grpSp>
          <p:sp>
            <p:nvSpPr>
              <p:cNvPr id="25" name="TextBox 24"/>
              <p:cNvSpPr txBox="1"/>
              <p:nvPr userDrawn="1"/>
            </p:nvSpPr>
            <p:spPr>
              <a:xfrm rot="5400000">
                <a:off x="12988035" y="260168"/>
                <a:ext cx="843501" cy="323165"/>
              </a:xfrm>
              <a:prstGeom prst="rect">
                <a:avLst/>
              </a:prstGeom>
              <a:noFill/>
            </p:spPr>
            <p:txBody>
              <a:bodyPr wrap="none" lIns="0" tIns="91440" rIns="182880" bIns="91440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000">
                    <a:gradFill>
                      <a:gsLst>
                        <a:gs pos="7692">
                          <a:schemeClr val="bg1"/>
                        </a:gs>
                        <a:gs pos="17000">
                          <a:schemeClr val="bg1"/>
                        </a:gs>
                      </a:gsLst>
                      <a:lin ang="5400000" scaled="0"/>
                    </a:gradFill>
                  </a:rPr>
                  <a:t>Main colors</a:t>
                </a:r>
              </a:p>
            </p:txBody>
          </p:sp>
          <p:sp>
            <p:nvSpPr>
              <p:cNvPr id="26" name="TextBox 25"/>
              <p:cNvSpPr txBox="1"/>
              <p:nvPr userDrawn="1"/>
            </p:nvSpPr>
            <p:spPr>
              <a:xfrm rot="5400000">
                <a:off x="11742070" y="4230580"/>
                <a:ext cx="2656496" cy="323165"/>
              </a:xfrm>
              <a:prstGeom prst="rect">
                <a:avLst/>
              </a:prstGeom>
              <a:noFill/>
            </p:spPr>
            <p:txBody>
              <a:bodyPr wrap="none" lIns="0" tIns="91440" rIns="182880" bIns="91440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000">
                    <a:gradFill>
                      <a:gsLst>
                        <a:gs pos="84615">
                          <a:schemeClr val="bg1"/>
                        </a:gs>
                        <a:gs pos="75000">
                          <a:schemeClr val="bg1"/>
                        </a:gs>
                      </a:gsLst>
                      <a:lin ang="5400000" scaled="0"/>
                    </a:gradFill>
                  </a:rPr>
                  <a:t>Secondary colors (use only when</a:t>
                </a:r>
                <a:r>
                  <a:rPr lang="en-US" sz="1000" baseline="0">
                    <a:gradFill>
                      <a:gsLst>
                        <a:gs pos="84615">
                          <a:schemeClr val="bg1"/>
                        </a:gs>
                        <a:gs pos="75000">
                          <a:schemeClr val="bg1"/>
                        </a:gs>
                      </a:gsLst>
                      <a:lin ang="5400000" scaled="0"/>
                    </a:gradFill>
                  </a:rPr>
                  <a:t> necessary)</a:t>
                </a:r>
                <a:endParaRPr lang="en-US" sz="1000">
                  <a:gradFill>
                    <a:gsLst>
                      <a:gs pos="84615">
                        <a:schemeClr val="bg1"/>
                      </a:gs>
                      <a:gs pos="75000">
                        <a:schemeClr val="bg1"/>
                      </a:gs>
                    </a:gsLst>
                    <a:lin ang="5400000" scaled="0"/>
                  </a:gradFill>
                </a:endParaRPr>
              </a:p>
            </p:txBody>
          </p:sp>
        </p:grpSp>
        <p:sp>
          <p:nvSpPr>
            <p:cNvPr id="18" name="Rectangle 17"/>
            <p:cNvSpPr/>
            <p:nvPr userDrawn="1"/>
          </p:nvSpPr>
          <p:spPr bwMode="auto">
            <a:xfrm rot="5400000">
              <a:off x="12328887" y="4272718"/>
              <a:ext cx="869930" cy="289766"/>
            </a:xfrm>
            <a:prstGeom prst="rect">
              <a:avLst/>
            </a:prstGeom>
            <a:solidFill>
              <a:srgbClr val="00188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3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>
                  <a:gradFill>
                    <a:gsLst>
                      <a:gs pos="18584">
                        <a:srgbClr val="FFFFFF"/>
                      </a:gs>
                      <a:gs pos="52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Mid Blue</a:t>
              </a:r>
            </a:p>
            <a:p>
              <a:pPr algn="l" defTabSz="932379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>
                  <a:gradFill>
                    <a:gsLst>
                      <a:gs pos="18584">
                        <a:srgbClr val="FFFFFF"/>
                      </a:gs>
                      <a:gs pos="52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0</a:t>
              </a:r>
              <a:r>
                <a:rPr lang="en-US" sz="500" baseline="0">
                  <a:gradFill>
                    <a:gsLst>
                      <a:gs pos="18584">
                        <a:srgbClr val="FFFFFF"/>
                      </a:gs>
                      <a:gs pos="52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 G:24 B:143</a:t>
              </a:r>
              <a:endParaRPr lang="en-US" sz="500">
                <a:gradFill>
                  <a:gsLst>
                    <a:gs pos="18584">
                      <a:srgbClr val="FFFFFF"/>
                    </a:gs>
                    <a:gs pos="52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 rot="5400000">
              <a:off x="12328887" y="5187118"/>
              <a:ext cx="869930" cy="289766"/>
            </a:xfrm>
            <a:prstGeom prst="rect">
              <a:avLst/>
            </a:prstGeom>
            <a:solidFill>
              <a:srgbClr val="107C1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3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Green</a:t>
              </a:r>
            </a:p>
            <a:p>
              <a:pPr algn="l" defTabSz="932379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500" baseline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 G:124 B:16</a:t>
              </a:r>
            </a:p>
          </p:txBody>
        </p:sp>
        <p:sp>
          <p:nvSpPr>
            <p:cNvPr id="20" name="Rectangle 19"/>
            <p:cNvSpPr/>
            <p:nvPr userDrawn="1"/>
          </p:nvSpPr>
          <p:spPr bwMode="auto">
            <a:xfrm rot="5400000">
              <a:off x="12328886" y="3353996"/>
              <a:ext cx="869930" cy="289766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3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>
                  <a:gradFill>
                    <a:gsLst>
                      <a:gs pos="66272">
                        <a:srgbClr val="000000"/>
                      </a:gs>
                      <a:gs pos="44000">
                        <a:srgbClr val="000000"/>
                      </a:gs>
                    </a:gsLst>
                    <a:lin ang="5400000" scaled="1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Blue</a:t>
              </a:r>
            </a:p>
            <a:p>
              <a:pPr algn="l" defTabSz="932379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>
                  <a:gradFill>
                    <a:gsLst>
                      <a:gs pos="66272">
                        <a:srgbClr val="000000"/>
                      </a:gs>
                      <a:gs pos="44000">
                        <a:srgbClr val="000000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rPr>
                <a:t>R:0</a:t>
              </a:r>
              <a:r>
                <a:rPr lang="en-US" sz="500" baseline="0">
                  <a:gradFill>
                    <a:gsLst>
                      <a:gs pos="66272">
                        <a:srgbClr val="000000"/>
                      </a:gs>
                      <a:gs pos="44000">
                        <a:srgbClr val="000000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rPr>
                <a:t> G:188 B:242</a:t>
              </a:r>
              <a:endParaRPr lang="en-US" sz="500">
                <a:gradFill>
                  <a:gsLst>
                    <a:gs pos="66272">
                      <a:srgbClr val="000000"/>
                    </a:gs>
                    <a:gs pos="44000">
                      <a:srgbClr val="000000"/>
                    </a:gs>
                  </a:gsLst>
                  <a:lin ang="5400000" scaled="1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993685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21" r:id="rId1"/>
    <p:sldLayoutId id="2147484320" r:id="rId2"/>
    <p:sldLayoutId id="2147484303" r:id="rId3"/>
    <p:sldLayoutId id="2147484304" r:id="rId4"/>
    <p:sldLayoutId id="2147484305" r:id="rId5"/>
    <p:sldLayoutId id="2147484306" r:id="rId6"/>
    <p:sldLayoutId id="2147484307" r:id="rId7"/>
    <p:sldLayoutId id="2147484308" r:id="rId8"/>
    <p:sldLayoutId id="2147484309" r:id="rId9"/>
    <p:sldLayoutId id="2147484310" r:id="rId10"/>
    <p:sldLayoutId id="2147484311" r:id="rId11"/>
    <p:sldLayoutId id="2147484313" r:id="rId12"/>
    <p:sldLayoutId id="2147484316" r:id="rId13"/>
    <p:sldLayoutId id="2147484317" r:id="rId14"/>
    <p:sldLayoutId id="2147484318" r:id="rId15"/>
    <p:sldLayoutId id="2147484357" r:id="rId16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xStyles>
    <p:titleStyle>
      <a:lvl1pPr algn="l" defTabSz="932649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66" marR="0" indent="-342866" algn="l" defTabSz="93264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4000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142" marR="0" indent="-241276" algn="l" defTabSz="93264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2400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2pPr>
      <a:lvl3pPr marL="800020" marR="0" indent="-228577" algn="l" defTabSz="93264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3pPr>
      <a:lvl4pPr marL="1028597" marR="0" indent="-228577" algn="l" defTabSz="93264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4pPr>
      <a:lvl5pPr marL="1257174" marR="0" indent="-228577" algn="l" defTabSz="93264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5pPr>
      <a:lvl6pPr marL="2564783" indent="-233163" algn="l" defTabSz="93264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109" indent="-233163" algn="l" defTabSz="93264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433" indent="-233163" algn="l" defTabSz="93264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759" indent="-233163" algn="l" defTabSz="93264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24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49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73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297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623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946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271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596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 userDrawn="1">
          <p15:clr>
            <a:srgbClr val="5ACBF0"/>
          </p15:clr>
        </p15:guide>
        <p15:guide id="2" pos="173" userDrawn="1">
          <p15:clr>
            <a:srgbClr val="5ACBF0"/>
          </p15:clr>
        </p15:guide>
        <p15:guide id="3" pos="749" userDrawn="1">
          <p15:clr>
            <a:srgbClr val="5ACBF0"/>
          </p15:clr>
        </p15:guide>
        <p15:guide id="4" pos="1325" userDrawn="1">
          <p15:clr>
            <a:srgbClr val="5ACBF0"/>
          </p15:clr>
        </p15:guide>
        <p15:guide id="5" pos="1901" userDrawn="1">
          <p15:clr>
            <a:srgbClr val="5ACBF0"/>
          </p15:clr>
        </p15:guide>
        <p15:guide id="6" pos="2477" userDrawn="1">
          <p15:clr>
            <a:srgbClr val="5ACBF0"/>
          </p15:clr>
        </p15:guide>
        <p15:guide id="7" pos="3053" userDrawn="1">
          <p15:clr>
            <a:srgbClr val="5ACBF0"/>
          </p15:clr>
        </p15:guide>
        <p15:guide id="8" pos="3629" userDrawn="1">
          <p15:clr>
            <a:srgbClr val="5ACBF0"/>
          </p15:clr>
        </p15:guide>
        <p15:guide id="9" pos="4204" userDrawn="1">
          <p15:clr>
            <a:srgbClr val="5ACBF0"/>
          </p15:clr>
        </p15:guide>
        <p15:guide id="10" pos="4780" userDrawn="1">
          <p15:clr>
            <a:srgbClr val="5ACBF0"/>
          </p15:clr>
        </p15:guide>
        <p15:guide id="11" pos="5356" userDrawn="1">
          <p15:clr>
            <a:srgbClr val="5ACBF0"/>
          </p15:clr>
        </p15:guide>
        <p15:guide id="12" pos="5932" userDrawn="1">
          <p15:clr>
            <a:srgbClr val="5ACBF0"/>
          </p15:clr>
        </p15:guide>
        <p15:guide id="13" pos="6508" userDrawn="1">
          <p15:clr>
            <a:srgbClr val="5ACBF0"/>
          </p15:clr>
        </p15:guide>
        <p15:guide id="14" pos="7084" userDrawn="1">
          <p15:clr>
            <a:srgbClr val="5ACBF0"/>
          </p15:clr>
        </p15:guide>
        <p15:guide id="15" pos="7660" userDrawn="1">
          <p15:clr>
            <a:srgbClr val="5ACBF0"/>
          </p15:clr>
        </p15:guide>
        <p15:guide id="16" pos="288" userDrawn="1">
          <p15:clr>
            <a:srgbClr val="C35EA4"/>
          </p15:clr>
        </p15:guide>
        <p15:guide id="17" pos="7545" userDrawn="1">
          <p15:clr>
            <a:srgbClr val="C35EA4"/>
          </p15:clr>
        </p15:guide>
        <p15:guide id="18" orient="horz" pos="763" userDrawn="1">
          <p15:clr>
            <a:srgbClr val="5ACBF0"/>
          </p15:clr>
        </p15:guide>
        <p15:guide id="19" orient="horz" pos="1339" userDrawn="1">
          <p15:clr>
            <a:srgbClr val="5ACBF0"/>
          </p15:clr>
        </p15:guide>
        <p15:guide id="20" orient="horz" pos="1915" userDrawn="1">
          <p15:clr>
            <a:srgbClr val="5ACBF0"/>
          </p15:clr>
        </p15:guide>
        <p15:guide id="21" orient="horz" pos="2491" userDrawn="1">
          <p15:clr>
            <a:srgbClr val="5ACBF0"/>
          </p15:clr>
        </p15:guide>
        <p15:guide id="22" orient="horz" pos="3067" userDrawn="1">
          <p15:clr>
            <a:srgbClr val="5ACBF0"/>
          </p15:clr>
        </p15:guide>
        <p15:guide id="23" orient="horz" pos="3643" userDrawn="1">
          <p15:clr>
            <a:srgbClr val="5ACBF0"/>
          </p15:clr>
        </p15:guide>
        <p15:guide id="24" orient="horz" pos="4219" userDrawn="1">
          <p15:clr>
            <a:srgbClr val="5ACBF0"/>
          </p15:clr>
        </p15:guide>
        <p15:guide id="25" orient="horz" pos="302" userDrawn="1">
          <p15:clr>
            <a:srgbClr val="C35EA4"/>
          </p15:clr>
        </p15:guide>
        <p15:guide id="26" orient="horz" pos="4104" userDrawn="1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E821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04" y="295275"/>
            <a:ext cx="11888047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05" y="1212852"/>
            <a:ext cx="11885681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marL="342866" marR="0" lvl="0" indent="-342866" algn="l" defTabSz="93264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/>
              <a:t>Click to edit Master text styles</a:t>
            </a:r>
          </a:p>
          <a:p>
            <a:pPr marL="584142" marR="0" lvl="1" indent="-241276" algn="l" defTabSz="93264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2590" y="0"/>
            <a:ext cx="957047" cy="5766966"/>
            <a:chOff x="12614199" y="0"/>
            <a:chExt cx="957169" cy="5766966"/>
          </a:xfrm>
        </p:grpSpPr>
        <p:grpSp>
          <p:nvGrpSpPr>
            <p:cNvPr id="22" name="Group 21"/>
            <p:cNvGrpSpPr/>
            <p:nvPr userDrawn="1"/>
          </p:nvGrpSpPr>
          <p:grpSpPr>
            <a:xfrm>
              <a:off x="12614199" y="0"/>
              <a:ext cx="957169" cy="5720411"/>
              <a:chOff x="12614199" y="0"/>
              <a:chExt cx="957169" cy="5720411"/>
            </a:xfrm>
          </p:grpSpPr>
          <p:grpSp>
            <p:nvGrpSpPr>
              <p:cNvPr id="23" name="Group 22"/>
              <p:cNvGrpSpPr/>
              <p:nvPr userDrawn="1"/>
            </p:nvGrpSpPr>
            <p:grpSpPr>
              <a:xfrm rot="5400000">
                <a:off x="11576884" y="1040118"/>
                <a:ext cx="2708636" cy="634005"/>
                <a:chOff x="1581150" y="4543426"/>
                <a:chExt cx="2708636" cy="634005"/>
              </a:xfrm>
            </p:grpSpPr>
            <p:sp>
              <p:nvSpPr>
                <p:cNvPr id="30" name="Rectangle 29"/>
                <p:cNvSpPr/>
                <p:nvPr userDrawn="1"/>
              </p:nvSpPr>
              <p:spPr bwMode="auto">
                <a:xfrm>
                  <a:off x="1586734" y="4543428"/>
                  <a:ext cx="869930" cy="28976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32379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 b="1" kern="12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Purple</a:t>
                  </a:r>
                </a:p>
                <a:p>
                  <a:pPr algn="l" defTabSz="932379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5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0 G:45 B:145</a:t>
                  </a:r>
                  <a:endParaRPr lang="en-US" sz="50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1" name="Rectangle 30"/>
                <p:cNvSpPr/>
                <p:nvPr userDrawn="1"/>
              </p:nvSpPr>
              <p:spPr bwMode="auto">
                <a:xfrm>
                  <a:off x="1581150" y="4887665"/>
                  <a:ext cx="869930" cy="289766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32379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 b="1" kern="12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Dark Purple</a:t>
                  </a:r>
                </a:p>
                <a:p>
                  <a:pPr algn="l" defTabSz="932379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5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50 G:20 B:90</a:t>
                  </a:r>
                  <a:endParaRPr lang="en-US" sz="50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2" name="Rectangle 31"/>
                <p:cNvSpPr/>
                <p:nvPr userDrawn="1"/>
              </p:nvSpPr>
              <p:spPr bwMode="auto">
                <a:xfrm>
                  <a:off x="3419856" y="4543426"/>
                  <a:ext cx="869930" cy="289766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3237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 b="1" kern="12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Blue</a:t>
                  </a:r>
                </a:p>
                <a:p>
                  <a:pPr algn="l" defTabSz="932379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500" baseline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0 G:120 B:215</a:t>
                  </a:r>
                  <a:endParaRPr lang="en-US" sz="50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3" name="Rectangle 32"/>
                <p:cNvSpPr/>
                <p:nvPr userDrawn="1"/>
              </p:nvSpPr>
              <p:spPr bwMode="auto">
                <a:xfrm>
                  <a:off x="2498744" y="4882896"/>
                  <a:ext cx="869930" cy="289766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3237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 b="1" kern="12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Magenta</a:t>
                  </a:r>
                </a:p>
                <a:p>
                  <a:pPr algn="l" defTabSz="932379" fontAlgn="base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</a:t>
                  </a:r>
                  <a:r>
                    <a:rPr lang="en-US" sz="500" baseline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180 G:0 B:158</a:t>
                  </a:r>
                  <a:endParaRPr lang="en-US" sz="50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3" name="Rectangle 42"/>
                <p:cNvSpPr/>
                <p:nvPr userDrawn="1"/>
              </p:nvSpPr>
              <p:spPr bwMode="auto">
                <a:xfrm>
                  <a:off x="3413144" y="4882895"/>
                  <a:ext cx="869930" cy="289766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solidFill>
                    <a:schemeClr val="bg1">
                      <a:alpha val="25000"/>
                    </a:schemeClr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3237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 b="1" kern="1200" baseline="0">
                      <a:gradFill>
                        <a:gsLst>
                          <a:gs pos="66272">
                            <a:srgbClr val="000000"/>
                          </a:gs>
                          <a:gs pos="44000">
                            <a:srgbClr val="000000"/>
                          </a:gs>
                        </a:gsLst>
                        <a:lin ang="5400000" scaled="1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Light Gray</a:t>
                  </a:r>
                </a:p>
                <a:p>
                  <a:pPr marL="0" algn="l" defTabSz="93237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 kern="1200">
                      <a:gradFill>
                        <a:gsLst>
                          <a:gs pos="66272">
                            <a:srgbClr val="000000"/>
                          </a:gs>
                          <a:gs pos="44000">
                            <a:srgbClr val="000000"/>
                          </a:gs>
                        </a:gsLst>
                        <a:lin ang="5400000" scaled="1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R:234 G:234 B:234</a:t>
                  </a:r>
                </a:p>
              </p:txBody>
            </p:sp>
            <p:sp>
              <p:nvSpPr>
                <p:cNvPr id="44" name="Rectangle 43"/>
                <p:cNvSpPr/>
                <p:nvPr userDrawn="1"/>
              </p:nvSpPr>
              <p:spPr bwMode="auto">
                <a:xfrm>
                  <a:off x="2498745" y="4543428"/>
                  <a:ext cx="869930" cy="289766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algn="l" defTabSz="93237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 b="1" kern="1200" baseline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Dark Blue</a:t>
                  </a:r>
                </a:p>
                <a:p>
                  <a:pPr marL="0" algn="l" defTabSz="93237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500" kern="1200" baseline="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latin typeface="+mn-lt"/>
                      <a:ea typeface="Segoe UI" pitchFamily="34" charset="0"/>
                      <a:cs typeface="Segoe UI" pitchFamily="34" charset="0"/>
                    </a:rPr>
                    <a:t>R:0 G:32 B:80</a:t>
                  </a:r>
                </a:p>
              </p:txBody>
            </p:sp>
          </p:grpSp>
          <p:sp>
            <p:nvSpPr>
              <p:cNvPr id="25" name="TextBox 24"/>
              <p:cNvSpPr txBox="1"/>
              <p:nvPr userDrawn="1"/>
            </p:nvSpPr>
            <p:spPr>
              <a:xfrm rot="5400000">
                <a:off x="12988035" y="260168"/>
                <a:ext cx="843501" cy="323165"/>
              </a:xfrm>
              <a:prstGeom prst="rect">
                <a:avLst/>
              </a:prstGeom>
              <a:noFill/>
            </p:spPr>
            <p:txBody>
              <a:bodyPr wrap="none" lIns="0" tIns="91440" rIns="182880" bIns="91440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000">
                    <a:gradFill>
                      <a:gsLst>
                        <a:gs pos="7692">
                          <a:schemeClr val="bg1"/>
                        </a:gs>
                        <a:gs pos="17000">
                          <a:schemeClr val="bg1"/>
                        </a:gs>
                      </a:gsLst>
                      <a:lin ang="5400000" scaled="0"/>
                    </a:gradFill>
                  </a:rPr>
                  <a:t>Main colors</a:t>
                </a:r>
              </a:p>
            </p:txBody>
          </p:sp>
          <p:sp>
            <p:nvSpPr>
              <p:cNvPr id="26" name="TextBox 25"/>
              <p:cNvSpPr txBox="1"/>
              <p:nvPr userDrawn="1"/>
            </p:nvSpPr>
            <p:spPr>
              <a:xfrm rot="5400000">
                <a:off x="11742070" y="4230580"/>
                <a:ext cx="2656496" cy="323165"/>
              </a:xfrm>
              <a:prstGeom prst="rect">
                <a:avLst/>
              </a:prstGeom>
              <a:noFill/>
            </p:spPr>
            <p:txBody>
              <a:bodyPr wrap="none" lIns="0" tIns="91440" rIns="182880" bIns="91440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000">
                    <a:gradFill>
                      <a:gsLst>
                        <a:gs pos="84615">
                          <a:schemeClr val="bg1"/>
                        </a:gs>
                        <a:gs pos="75000">
                          <a:schemeClr val="bg1"/>
                        </a:gs>
                      </a:gsLst>
                      <a:lin ang="5400000" scaled="0"/>
                    </a:gradFill>
                  </a:rPr>
                  <a:t>Secondary colors (use only when</a:t>
                </a:r>
                <a:r>
                  <a:rPr lang="en-US" sz="1000" baseline="0">
                    <a:gradFill>
                      <a:gsLst>
                        <a:gs pos="84615">
                          <a:schemeClr val="bg1"/>
                        </a:gs>
                        <a:gs pos="75000">
                          <a:schemeClr val="bg1"/>
                        </a:gs>
                      </a:gsLst>
                      <a:lin ang="5400000" scaled="0"/>
                    </a:gradFill>
                  </a:rPr>
                  <a:t> necessary)</a:t>
                </a:r>
                <a:endParaRPr lang="en-US" sz="1000">
                  <a:gradFill>
                    <a:gsLst>
                      <a:gs pos="84615">
                        <a:schemeClr val="bg1"/>
                      </a:gs>
                      <a:gs pos="75000">
                        <a:schemeClr val="bg1"/>
                      </a:gs>
                    </a:gsLst>
                    <a:lin ang="5400000" scaled="0"/>
                  </a:gradFill>
                </a:endParaRPr>
              </a:p>
            </p:txBody>
          </p:sp>
        </p:grpSp>
        <p:sp>
          <p:nvSpPr>
            <p:cNvPr id="18" name="Rectangle 17"/>
            <p:cNvSpPr/>
            <p:nvPr userDrawn="1"/>
          </p:nvSpPr>
          <p:spPr bwMode="auto">
            <a:xfrm rot="5400000">
              <a:off x="12328887" y="4272718"/>
              <a:ext cx="869930" cy="289766"/>
            </a:xfrm>
            <a:prstGeom prst="rect">
              <a:avLst/>
            </a:prstGeom>
            <a:solidFill>
              <a:srgbClr val="00188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3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>
                  <a:gradFill>
                    <a:gsLst>
                      <a:gs pos="18584">
                        <a:srgbClr val="FFFFFF"/>
                      </a:gs>
                      <a:gs pos="52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Mid Blue</a:t>
              </a:r>
            </a:p>
            <a:p>
              <a:pPr algn="l" defTabSz="932379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>
                  <a:gradFill>
                    <a:gsLst>
                      <a:gs pos="18584">
                        <a:srgbClr val="FFFFFF"/>
                      </a:gs>
                      <a:gs pos="52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0</a:t>
              </a:r>
              <a:r>
                <a:rPr lang="en-US" sz="500" baseline="0">
                  <a:gradFill>
                    <a:gsLst>
                      <a:gs pos="18584">
                        <a:srgbClr val="FFFFFF"/>
                      </a:gs>
                      <a:gs pos="52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 G:24 B:143</a:t>
              </a:r>
              <a:endParaRPr lang="en-US" sz="500">
                <a:gradFill>
                  <a:gsLst>
                    <a:gs pos="18584">
                      <a:srgbClr val="FFFFFF"/>
                    </a:gs>
                    <a:gs pos="52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 rot="5400000">
              <a:off x="12328887" y="5187118"/>
              <a:ext cx="869930" cy="289766"/>
            </a:xfrm>
            <a:prstGeom prst="rect">
              <a:avLst/>
            </a:prstGeom>
            <a:solidFill>
              <a:srgbClr val="107C1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3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Green</a:t>
              </a:r>
            </a:p>
            <a:p>
              <a:pPr algn="l" defTabSz="932379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500" baseline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 G:124 B:16</a:t>
              </a:r>
            </a:p>
          </p:txBody>
        </p:sp>
        <p:sp>
          <p:nvSpPr>
            <p:cNvPr id="20" name="Rectangle 19"/>
            <p:cNvSpPr/>
            <p:nvPr userDrawn="1"/>
          </p:nvSpPr>
          <p:spPr bwMode="auto">
            <a:xfrm rot="5400000">
              <a:off x="12328886" y="3353996"/>
              <a:ext cx="869930" cy="289766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3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>
                  <a:gradFill>
                    <a:gsLst>
                      <a:gs pos="66272">
                        <a:srgbClr val="000000"/>
                      </a:gs>
                      <a:gs pos="44000">
                        <a:srgbClr val="000000"/>
                      </a:gs>
                    </a:gsLst>
                    <a:lin ang="5400000" scaled="1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Blue</a:t>
              </a:r>
            </a:p>
            <a:p>
              <a:pPr algn="l" defTabSz="932379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>
                  <a:gradFill>
                    <a:gsLst>
                      <a:gs pos="66272">
                        <a:srgbClr val="000000"/>
                      </a:gs>
                      <a:gs pos="44000">
                        <a:srgbClr val="000000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rPr>
                <a:t>R:0</a:t>
              </a:r>
              <a:r>
                <a:rPr lang="en-US" sz="500" baseline="0">
                  <a:gradFill>
                    <a:gsLst>
                      <a:gs pos="66272">
                        <a:srgbClr val="000000"/>
                      </a:gs>
                      <a:gs pos="44000">
                        <a:srgbClr val="000000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rPr>
                <a:t> G:188 B:242</a:t>
              </a:r>
              <a:endParaRPr lang="en-US" sz="500">
                <a:gradFill>
                  <a:gsLst>
                    <a:gs pos="66272">
                      <a:srgbClr val="000000"/>
                    </a:gs>
                    <a:gs pos="44000">
                      <a:srgbClr val="000000"/>
                    </a:gs>
                  </a:gsLst>
                  <a:lin ang="5400000" scaled="1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568775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24" r:id="rId1"/>
    <p:sldLayoutId id="2147484325" r:id="rId2"/>
    <p:sldLayoutId id="2147484326" r:id="rId3"/>
    <p:sldLayoutId id="2147484327" r:id="rId4"/>
    <p:sldLayoutId id="2147484328" r:id="rId5"/>
    <p:sldLayoutId id="2147484329" r:id="rId6"/>
    <p:sldLayoutId id="2147484330" r:id="rId7"/>
    <p:sldLayoutId id="2147484331" r:id="rId8"/>
    <p:sldLayoutId id="2147484332" r:id="rId9"/>
    <p:sldLayoutId id="2147484333" r:id="rId10"/>
    <p:sldLayoutId id="2147484334" r:id="rId11"/>
    <p:sldLayoutId id="2147484335" r:id="rId12"/>
    <p:sldLayoutId id="2147484336" r:id="rId13"/>
    <p:sldLayoutId id="2147484337" r:id="rId14"/>
    <p:sldLayoutId id="2147484338" r:id="rId15"/>
    <p:sldLayoutId id="2147484339" r:id="rId16"/>
    <p:sldLayoutId id="2147484340" r:id="rId17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xStyles>
    <p:titleStyle>
      <a:lvl1pPr algn="l" defTabSz="932649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66" marR="0" indent="-342866" algn="l" defTabSz="93264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4000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142" marR="0" indent="-241276" algn="l" defTabSz="93264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2400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2pPr>
      <a:lvl3pPr marL="800020" marR="0" indent="-228577" algn="l" defTabSz="93264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3pPr>
      <a:lvl4pPr marL="1028597" marR="0" indent="-228577" algn="l" defTabSz="93264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4pPr>
      <a:lvl5pPr marL="1257174" marR="0" indent="-228577" algn="l" defTabSz="93264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5pPr>
      <a:lvl6pPr marL="2564783" indent="-233163" algn="l" defTabSz="93264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109" indent="-233163" algn="l" defTabSz="93264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433" indent="-233163" algn="l" defTabSz="93264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759" indent="-233163" algn="l" defTabSz="93264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24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49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73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297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623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946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271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596" algn="l" defTabSz="9326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 userDrawn="1">
          <p15:clr>
            <a:srgbClr val="5ACBF0"/>
          </p15:clr>
        </p15:guide>
        <p15:guide id="2" pos="173" userDrawn="1">
          <p15:clr>
            <a:srgbClr val="5ACBF0"/>
          </p15:clr>
        </p15:guide>
        <p15:guide id="3" pos="749" userDrawn="1">
          <p15:clr>
            <a:srgbClr val="5ACBF0"/>
          </p15:clr>
        </p15:guide>
        <p15:guide id="4" pos="1325" userDrawn="1">
          <p15:clr>
            <a:srgbClr val="5ACBF0"/>
          </p15:clr>
        </p15:guide>
        <p15:guide id="5" pos="1901" userDrawn="1">
          <p15:clr>
            <a:srgbClr val="5ACBF0"/>
          </p15:clr>
        </p15:guide>
        <p15:guide id="6" pos="2477" userDrawn="1">
          <p15:clr>
            <a:srgbClr val="5ACBF0"/>
          </p15:clr>
        </p15:guide>
        <p15:guide id="7" pos="3053" userDrawn="1">
          <p15:clr>
            <a:srgbClr val="5ACBF0"/>
          </p15:clr>
        </p15:guide>
        <p15:guide id="8" pos="3629" userDrawn="1">
          <p15:clr>
            <a:srgbClr val="5ACBF0"/>
          </p15:clr>
        </p15:guide>
        <p15:guide id="9" pos="4204" userDrawn="1">
          <p15:clr>
            <a:srgbClr val="5ACBF0"/>
          </p15:clr>
        </p15:guide>
        <p15:guide id="10" pos="4780" userDrawn="1">
          <p15:clr>
            <a:srgbClr val="5ACBF0"/>
          </p15:clr>
        </p15:guide>
        <p15:guide id="11" pos="5356" userDrawn="1">
          <p15:clr>
            <a:srgbClr val="5ACBF0"/>
          </p15:clr>
        </p15:guide>
        <p15:guide id="12" pos="5932" userDrawn="1">
          <p15:clr>
            <a:srgbClr val="5ACBF0"/>
          </p15:clr>
        </p15:guide>
        <p15:guide id="13" pos="6508" userDrawn="1">
          <p15:clr>
            <a:srgbClr val="5ACBF0"/>
          </p15:clr>
        </p15:guide>
        <p15:guide id="14" pos="7084" userDrawn="1">
          <p15:clr>
            <a:srgbClr val="5ACBF0"/>
          </p15:clr>
        </p15:guide>
        <p15:guide id="15" pos="7660" userDrawn="1">
          <p15:clr>
            <a:srgbClr val="5ACBF0"/>
          </p15:clr>
        </p15:guide>
        <p15:guide id="16" pos="288" userDrawn="1">
          <p15:clr>
            <a:srgbClr val="C35EA4"/>
          </p15:clr>
        </p15:guide>
        <p15:guide id="17" pos="7545" userDrawn="1">
          <p15:clr>
            <a:srgbClr val="C35EA4"/>
          </p15:clr>
        </p15:guide>
        <p15:guide id="18" orient="horz" pos="763" userDrawn="1">
          <p15:clr>
            <a:srgbClr val="5ACBF0"/>
          </p15:clr>
        </p15:guide>
        <p15:guide id="19" orient="horz" pos="1339" userDrawn="1">
          <p15:clr>
            <a:srgbClr val="5ACBF0"/>
          </p15:clr>
        </p15:guide>
        <p15:guide id="20" orient="horz" pos="1915" userDrawn="1">
          <p15:clr>
            <a:srgbClr val="5ACBF0"/>
          </p15:clr>
        </p15:guide>
        <p15:guide id="21" orient="horz" pos="2491" userDrawn="1">
          <p15:clr>
            <a:srgbClr val="5ACBF0"/>
          </p15:clr>
        </p15:guide>
        <p15:guide id="22" orient="horz" pos="3067" userDrawn="1">
          <p15:clr>
            <a:srgbClr val="5ACBF0"/>
          </p15:clr>
        </p15:guide>
        <p15:guide id="23" orient="horz" pos="3643" userDrawn="1">
          <p15:clr>
            <a:srgbClr val="5ACBF0"/>
          </p15:clr>
        </p15:guide>
        <p15:guide id="24" orient="horz" pos="4219" userDrawn="1">
          <p15:clr>
            <a:srgbClr val="5ACBF0"/>
          </p15:clr>
        </p15:guide>
        <p15:guide id="25" orient="horz" pos="302" userDrawn="1">
          <p15:clr>
            <a:srgbClr val="C35EA4"/>
          </p15:clr>
        </p15:guide>
        <p15:guide id="26" orient="horz" pos="4104" userDrawn="1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99982" y="466301"/>
            <a:ext cx="11238030" cy="56502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95838" y="1464080"/>
            <a:ext cx="11238030" cy="16448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474092" y="3001218"/>
            <a:ext cx="6994525" cy="992090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434888" cy="6994525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96875" cy="59686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8437" cy="298433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6749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9" r:id="rId1"/>
    <p:sldLayoutId id="2147484440" r:id="rId2"/>
    <p:sldLayoutId id="2147484441" r:id="rId3"/>
    <p:sldLayoutId id="2147484442" r:id="rId4"/>
    <p:sldLayoutId id="2147484443" r:id="rId5"/>
    <p:sldLayoutId id="2147484444" r:id="rId6"/>
    <p:sldLayoutId id="2147484445" r:id="rId7"/>
    <p:sldLayoutId id="2147484446" r:id="rId8"/>
    <p:sldLayoutId id="2147484447" r:id="rId9"/>
    <p:sldLayoutId id="2147484448" r:id="rId10"/>
    <p:sldLayoutId id="2147484449" r:id="rId11"/>
    <p:sldLayoutId id="2147484450" r:id="rId12"/>
    <p:sldLayoutId id="2147484451" r:id="rId13"/>
    <p:sldLayoutId id="2147484452" r:id="rId14"/>
    <p:sldLayoutId id="2147484453" r:id="rId15"/>
    <p:sldLayoutId id="2147484454" r:id="rId16"/>
    <p:sldLayoutId id="2147484455" r:id="rId17"/>
    <p:sldLayoutId id="2147484456" r:id="rId18"/>
    <p:sldLayoutId id="2147484457" r:id="rId19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  <p:txStyles>
    <p:titleStyle>
      <a:lvl1pPr algn="l" defTabSz="951304" rtl="0" eaLnBrk="1" latinLnBrk="0" hangingPunct="1">
        <a:lnSpc>
          <a:spcPct val="100000"/>
        </a:lnSpc>
        <a:spcBef>
          <a:spcPct val="0"/>
        </a:spcBef>
        <a:buNone/>
        <a:defRPr lang="en-US" sz="3672" b="1" kern="1200" cap="none" spc="-51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33149" marR="0" indent="-233149" algn="l" defTabSz="95130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66298" marR="0" indent="-233149" algn="l" defTabSz="95130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4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0304" marR="0" indent="-204005" algn="l" defTabSz="95130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3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59738" marR="0" indent="-184576" algn="l" defTabSz="95130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44314" marR="0" indent="-171624" algn="l" defTabSz="95130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616084" indent="-237826" algn="l" defTabSz="951304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6pPr>
      <a:lvl7pPr marL="3091737" indent="-237826" algn="l" defTabSz="951304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7pPr>
      <a:lvl8pPr marL="3567389" indent="-237826" algn="l" defTabSz="951304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8pPr>
      <a:lvl9pPr marL="4043042" indent="-237826" algn="l" defTabSz="951304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75652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51304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426955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902607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78260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853911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329562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805215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04" y="295275"/>
            <a:ext cx="11888047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06" y="1212851"/>
            <a:ext cx="11885681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 rot="5400000">
            <a:off x="9392254" y="3050571"/>
            <a:ext cx="6995160" cy="894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693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0" r:id="rId1"/>
    <p:sldLayoutId id="2147484461" r:id="rId2"/>
    <p:sldLayoutId id="2147484462" r:id="rId3"/>
    <p:sldLayoutId id="2147484463" r:id="rId4"/>
    <p:sldLayoutId id="2147484464" r:id="rId5"/>
    <p:sldLayoutId id="2147484465" r:id="rId6"/>
    <p:sldLayoutId id="2147484466" r:id="rId7"/>
    <p:sldLayoutId id="2147484467" r:id="rId8"/>
    <p:sldLayoutId id="2147484468" r:id="rId9"/>
    <p:sldLayoutId id="2147484469" r:id="rId10"/>
    <p:sldLayoutId id="2147484472" r:id="rId11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04" y="295275"/>
            <a:ext cx="11888047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06" y="1212851"/>
            <a:ext cx="11885681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2254" y="3050571"/>
            <a:ext cx="6995160" cy="894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390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9" r:id="rId1"/>
    <p:sldLayoutId id="2147484480" r:id="rId2"/>
    <p:sldLayoutId id="2147484481" r:id="rId3"/>
    <p:sldLayoutId id="2147484482" r:id="rId4"/>
    <p:sldLayoutId id="2147484483" r:id="rId5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99982" y="466301"/>
            <a:ext cx="11238030" cy="56502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95838" y="1464080"/>
            <a:ext cx="11238030" cy="16448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474092" y="3001218"/>
            <a:ext cx="6994525" cy="992090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434888" cy="6994525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96875" cy="59686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8437" cy="298433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094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8" r:id="rId1"/>
    <p:sldLayoutId id="2147484499" r:id="rId2"/>
    <p:sldLayoutId id="2147484500" r:id="rId3"/>
    <p:sldLayoutId id="2147484501" r:id="rId4"/>
    <p:sldLayoutId id="2147484502" r:id="rId5"/>
    <p:sldLayoutId id="2147484503" r:id="rId6"/>
    <p:sldLayoutId id="2147484504" r:id="rId7"/>
    <p:sldLayoutId id="2147484505" r:id="rId8"/>
    <p:sldLayoutId id="2147484506" r:id="rId9"/>
    <p:sldLayoutId id="2147484507" r:id="rId10"/>
    <p:sldLayoutId id="2147484508" r:id="rId11"/>
    <p:sldLayoutId id="2147484509" r:id="rId12"/>
    <p:sldLayoutId id="2147484510" r:id="rId13"/>
    <p:sldLayoutId id="2147484511" r:id="rId14"/>
    <p:sldLayoutId id="2147484512" r:id="rId15"/>
    <p:sldLayoutId id="2147484513" r:id="rId16"/>
    <p:sldLayoutId id="2147484514" r:id="rId17"/>
    <p:sldLayoutId id="2147484515" r:id="rId18"/>
    <p:sldLayoutId id="2147484516" r:id="rId19"/>
    <p:sldLayoutId id="2147484517" r:id="rId20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  <p:txStyles>
    <p:titleStyle>
      <a:lvl1pPr algn="l" defTabSz="951304" rtl="0" eaLnBrk="1" latinLnBrk="0" hangingPunct="1">
        <a:lnSpc>
          <a:spcPct val="100000"/>
        </a:lnSpc>
        <a:spcBef>
          <a:spcPct val="0"/>
        </a:spcBef>
        <a:buNone/>
        <a:defRPr lang="en-US" sz="3672" b="1" kern="1200" cap="none" spc="-51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33149" marR="0" indent="-233149" algn="l" defTabSz="95130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66298" marR="0" indent="-233149" algn="l" defTabSz="95130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4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0304" marR="0" indent="-204005" algn="l" defTabSz="95130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3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59738" marR="0" indent="-184576" algn="l" defTabSz="95130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44314" marR="0" indent="-171624" algn="l" defTabSz="95130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616084" indent="-237826" algn="l" defTabSz="951304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6pPr>
      <a:lvl7pPr marL="3091737" indent="-237826" algn="l" defTabSz="951304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7pPr>
      <a:lvl8pPr marL="3567389" indent="-237826" algn="l" defTabSz="951304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8pPr>
      <a:lvl9pPr marL="4043042" indent="-237826" algn="l" defTabSz="951304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75652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51304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426955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902607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78260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853911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329562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805215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99982" y="466301"/>
            <a:ext cx="11238030" cy="56502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95838" y="1464080"/>
            <a:ext cx="11238030" cy="16448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474092" y="3001218"/>
            <a:ext cx="6994525" cy="992090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434888" cy="6994525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96875" cy="59686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8437" cy="298433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3424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9" r:id="rId1"/>
    <p:sldLayoutId id="2147484520" r:id="rId2"/>
    <p:sldLayoutId id="2147484521" r:id="rId3"/>
    <p:sldLayoutId id="2147484522" r:id="rId4"/>
    <p:sldLayoutId id="2147484523" r:id="rId5"/>
    <p:sldLayoutId id="2147484524" r:id="rId6"/>
    <p:sldLayoutId id="2147484525" r:id="rId7"/>
    <p:sldLayoutId id="2147484526" r:id="rId8"/>
    <p:sldLayoutId id="2147484527" r:id="rId9"/>
    <p:sldLayoutId id="2147484528" r:id="rId10"/>
    <p:sldLayoutId id="2147484529" r:id="rId11"/>
    <p:sldLayoutId id="2147484530" r:id="rId12"/>
    <p:sldLayoutId id="2147484531" r:id="rId13"/>
    <p:sldLayoutId id="2147484532" r:id="rId14"/>
    <p:sldLayoutId id="2147484533" r:id="rId15"/>
    <p:sldLayoutId id="2147484534" r:id="rId16"/>
    <p:sldLayoutId id="2147484535" r:id="rId17"/>
    <p:sldLayoutId id="2147484536" r:id="rId18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  <p:txStyles>
    <p:titleStyle>
      <a:lvl1pPr algn="l" defTabSz="951304" rtl="0" eaLnBrk="1" latinLnBrk="0" hangingPunct="1">
        <a:lnSpc>
          <a:spcPct val="100000"/>
        </a:lnSpc>
        <a:spcBef>
          <a:spcPct val="0"/>
        </a:spcBef>
        <a:buNone/>
        <a:defRPr lang="en-US" sz="3672" b="1" kern="1200" cap="none" spc="-51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33149" marR="0" indent="-233149" algn="l" defTabSz="95130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66298" marR="0" indent="-233149" algn="l" defTabSz="95130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4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0304" marR="0" indent="-204005" algn="l" defTabSz="95130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3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59738" marR="0" indent="-184576" algn="l" defTabSz="95130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44314" marR="0" indent="-171624" algn="l" defTabSz="95130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616084" indent="-237826" algn="l" defTabSz="951304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6pPr>
      <a:lvl7pPr marL="3091737" indent="-237826" algn="l" defTabSz="951304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7pPr>
      <a:lvl8pPr marL="3567389" indent="-237826" algn="l" defTabSz="951304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8pPr>
      <a:lvl9pPr marL="4043042" indent="-237826" algn="l" defTabSz="951304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75652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51304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426955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902607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78260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853911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329562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805215" algn="l" defTabSz="951304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04" y="295275"/>
            <a:ext cx="11888047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06" y="1212851"/>
            <a:ext cx="11885681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 rot="5400000">
            <a:off x="9370154" y="3072354"/>
            <a:ext cx="6995160" cy="84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16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8" r:id="rId1"/>
    <p:sldLayoutId id="2147484569" r:id="rId2"/>
    <p:sldLayoutId id="2147484570" r:id="rId3"/>
    <p:sldLayoutId id="2147484571" r:id="rId4"/>
    <p:sldLayoutId id="2147484572" r:id="rId5"/>
    <p:sldLayoutId id="2147484573" r:id="rId6"/>
    <p:sldLayoutId id="2147484574" r:id="rId7"/>
    <p:sldLayoutId id="2147484575" r:id="rId8"/>
    <p:sldLayoutId id="2147484576" r:id="rId9"/>
    <p:sldLayoutId id="2147484577" r:id="rId10"/>
    <p:sldLayoutId id="2147484578" r:id="rId11"/>
    <p:sldLayoutId id="2147484579" r:id="rId12"/>
    <p:sldLayoutId id="2147484580" r:id="rId13"/>
    <p:sldLayoutId id="2147484581" r:id="rId14"/>
    <p:sldLayoutId id="2147484582" r:id="rId15"/>
    <p:sldLayoutId id="2147484583" r:id="rId16"/>
    <p:sldLayoutId id="2147484584" r:id="rId17"/>
    <p:sldLayoutId id="2147484585" r:id="rId18"/>
    <p:sldLayoutId id="2147484586" r:id="rId19"/>
    <p:sldLayoutId id="2147484587" r:id="rId20"/>
    <p:sldLayoutId id="2147484588" r:id="rId21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557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112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669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224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2781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upersonicgirl.net/" TargetMode="External"/><Relationship Id="rId13" Type="http://schemas.openxmlformats.org/officeDocument/2006/relationships/hyperlink" Target="https://www.youracclaim.com/org/microsoft-certification/badge/microsoft-365-certified-enterprise-administrator-expert" TargetMode="External"/><Relationship Id="rId3" Type="http://schemas.openxmlformats.org/officeDocument/2006/relationships/hyperlink" Target="https://commons.wikimedia.org/wiki/File:Code-1076536.jpg" TargetMode="External"/><Relationship Id="rId7" Type="http://schemas.openxmlformats.org/officeDocument/2006/relationships/image" Target="../media/image54.png"/><Relationship Id="rId12" Type="http://schemas.openxmlformats.org/officeDocument/2006/relationships/image" Target="../media/image57.png"/><Relationship Id="rId2" Type="http://schemas.openxmlformats.org/officeDocument/2006/relationships/image" Target="../media/image51.jpeg"/><Relationship Id="rId16" Type="http://schemas.openxmlformats.org/officeDocument/2006/relationships/image" Target="../media/image60.png"/><Relationship Id="rId1" Type="http://schemas.openxmlformats.org/officeDocument/2006/relationships/slideLayout" Target="../slideLayouts/slideLayout165.xml"/><Relationship Id="rId6" Type="http://schemas.openxmlformats.org/officeDocument/2006/relationships/hyperlink" Target="http://oreiadulto.blogspot.com/" TargetMode="External"/><Relationship Id="rId11" Type="http://schemas.openxmlformats.org/officeDocument/2006/relationships/image" Target="../media/image56.png"/><Relationship Id="rId5" Type="http://schemas.openxmlformats.org/officeDocument/2006/relationships/image" Target="../media/image53.png"/><Relationship Id="rId15" Type="http://schemas.openxmlformats.org/officeDocument/2006/relationships/image" Target="../media/image59.png"/><Relationship Id="rId10" Type="http://schemas.openxmlformats.org/officeDocument/2006/relationships/hyperlink" Target="https://web.esrc.unimelb.edu.au/CREG/" TargetMode="External"/><Relationship Id="rId4" Type="http://schemas.openxmlformats.org/officeDocument/2006/relationships/image" Target="../media/image52.png"/><Relationship Id="rId9" Type="http://schemas.openxmlformats.org/officeDocument/2006/relationships/image" Target="../media/image55.png"/><Relationship Id="rId14" Type="http://schemas.openxmlformats.org/officeDocument/2006/relationships/image" Target="../media/image58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0.xml"/><Relationship Id="rId4" Type="http://schemas.openxmlformats.org/officeDocument/2006/relationships/image" Target="../media/image7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0.xml"/><Relationship Id="rId4" Type="http://schemas.openxmlformats.org/officeDocument/2006/relationships/image" Target="../media/image7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0.xml"/><Relationship Id="rId4" Type="http://schemas.openxmlformats.org/officeDocument/2006/relationships/image" Target="../media/image7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0.xml"/><Relationship Id="rId4" Type="http://schemas.openxmlformats.org/officeDocument/2006/relationships/image" Target="../media/image76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6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18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0.xml"/><Relationship Id="rId1" Type="http://schemas.openxmlformats.org/officeDocument/2006/relationships/themeOverride" Target="../theme/themeOverride1.xml"/><Relationship Id="rId5" Type="http://schemas.openxmlformats.org/officeDocument/2006/relationships/hyperlink" Target="https://twitter.com/MSFTMobility/status/745647420499984384" TargetMode="External"/><Relationship Id="rId4" Type="http://schemas.openxmlformats.org/officeDocument/2006/relationships/image" Target="../media/image6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60.xml"/><Relationship Id="rId1" Type="http://schemas.openxmlformats.org/officeDocument/2006/relationships/themeOverride" Target="../theme/themeOverride2.xml"/><Relationship Id="rId5" Type="http://schemas.openxmlformats.org/officeDocument/2006/relationships/hyperlink" Target="https://www.slideshare.net/directorcia/azure-information-protection-94538691" TargetMode="External"/><Relationship Id="rId4" Type="http://schemas.openxmlformats.org/officeDocument/2006/relationships/image" Target="../media/image6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60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6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60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6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18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0.xml"/><Relationship Id="rId4" Type="http://schemas.openxmlformats.org/officeDocument/2006/relationships/image" Target="../media/image6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 descr="Afbeelding met scherm, televisie&#10;&#10;Automatisch gegenereerde beschrijving">
            <a:extLst>
              <a:ext uri="{FF2B5EF4-FFF2-40B4-BE49-F238E27FC236}">
                <a16:creationId xmlns:a16="http://schemas.microsoft.com/office/drawing/2014/main" id="{49316BBB-6722-4059-8172-E6780BBA599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/>
          <a:stretch/>
        </p:blipFill>
        <p:spPr>
          <a:xfrm>
            <a:off x="4268228" y="17744"/>
            <a:ext cx="8166572" cy="6983130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07A23471-CFEB-4AB3-9DF7-5A1B9F88D8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14257" y="-5766224"/>
            <a:ext cx="6781750" cy="4479064"/>
          </a:xfrm>
          <a:prstGeom prst="rect">
            <a:avLst/>
          </a:prstGeom>
        </p:spPr>
      </p:pic>
      <p:sp>
        <p:nvSpPr>
          <p:cNvPr id="9" name="Parallellogram 8">
            <a:extLst>
              <a:ext uri="{FF2B5EF4-FFF2-40B4-BE49-F238E27FC236}">
                <a16:creationId xmlns:a16="http://schemas.microsoft.com/office/drawing/2014/main" id="{8CF18657-B7C2-491D-8037-F811B0295768}"/>
              </a:ext>
            </a:extLst>
          </p:cNvPr>
          <p:cNvSpPr/>
          <p:nvPr/>
        </p:nvSpPr>
        <p:spPr>
          <a:xfrm rot="648558">
            <a:off x="6470546" y="-845197"/>
            <a:ext cx="1548772" cy="9389066"/>
          </a:xfrm>
          <a:prstGeom prst="parallelogram">
            <a:avLst/>
          </a:prstGeom>
          <a:solidFill>
            <a:srgbClr val="F2F2F2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97">
              <a:defRPr/>
            </a:pPr>
            <a:endParaRPr lang="en-US" sz="1836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" name="Parallellogram 9">
            <a:extLst>
              <a:ext uri="{FF2B5EF4-FFF2-40B4-BE49-F238E27FC236}">
                <a16:creationId xmlns:a16="http://schemas.microsoft.com/office/drawing/2014/main" id="{4AA11F0D-78FA-484B-BFF3-F4495DB7ED17}"/>
              </a:ext>
            </a:extLst>
          </p:cNvPr>
          <p:cNvSpPr/>
          <p:nvPr/>
        </p:nvSpPr>
        <p:spPr>
          <a:xfrm rot="709960">
            <a:off x="5880189" y="-1338257"/>
            <a:ext cx="962210" cy="9659639"/>
          </a:xfrm>
          <a:prstGeom prst="parallelogram">
            <a:avLst/>
          </a:prstGeom>
          <a:solidFill>
            <a:srgbClr val="F2F2F2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97"/>
            <a:endParaRPr lang="en-US" sz="1836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Parallellogram 10">
            <a:extLst>
              <a:ext uri="{FF2B5EF4-FFF2-40B4-BE49-F238E27FC236}">
                <a16:creationId xmlns:a16="http://schemas.microsoft.com/office/drawing/2014/main" id="{EF552E51-4755-4F66-A5A3-E2DA2ACD4D4B}"/>
              </a:ext>
            </a:extLst>
          </p:cNvPr>
          <p:cNvSpPr/>
          <p:nvPr/>
        </p:nvSpPr>
        <p:spPr>
          <a:xfrm>
            <a:off x="-2175985" y="-1"/>
            <a:ext cx="9086321" cy="7247106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97">
              <a:defRPr/>
            </a:pPr>
            <a:r>
              <a:rPr lang="nl-NL" sz="4896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bert Hoitingh</a:t>
            </a:r>
          </a:p>
          <a:p>
            <a:pPr algn="ctr" defTabSz="932597">
              <a:defRPr/>
            </a:pPr>
            <a:r>
              <a:rPr lang="nl-NL" sz="204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Sensitivity labels, </a:t>
            </a:r>
            <a:r>
              <a:rPr lang="nl-NL" sz="204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w</a:t>
            </a:r>
            <a:r>
              <a:rPr lang="nl-NL" sz="204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nd the roadmap</a:t>
            </a:r>
          </a:p>
          <a:p>
            <a:pPr algn="ctr" defTabSz="932597">
              <a:defRPr/>
            </a:pPr>
            <a:endParaRPr lang="nl-NL" sz="204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32597">
              <a:defRPr/>
            </a:pPr>
            <a:endParaRPr lang="nl-NL" sz="204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32597">
              <a:defRPr/>
            </a:pPr>
            <a:endParaRPr lang="nl-NL" sz="204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32597">
              <a:defRPr/>
            </a:pPr>
            <a:endParaRPr lang="nl-NL" sz="204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32597">
              <a:defRPr/>
            </a:pPr>
            <a:endParaRPr lang="nl-NL" sz="204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32597">
              <a:defRPr/>
            </a:pPr>
            <a:endParaRPr lang="nl-NL" sz="204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32597">
              <a:defRPr/>
            </a:pPr>
            <a:endParaRPr lang="nl-NL" sz="204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32597">
              <a:defRPr/>
            </a:pPr>
            <a:endParaRPr lang="nl-NL" sz="204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32597">
              <a:defRPr/>
            </a:pPr>
            <a:endParaRPr lang="nl-NL" sz="204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32597">
              <a:defRPr/>
            </a:pPr>
            <a:endParaRPr lang="en-US" sz="4896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5" name="Afbeelding 24">
            <a:extLst>
              <a:ext uri="{FF2B5EF4-FFF2-40B4-BE49-F238E27FC236}">
                <a16:creationId xmlns:a16="http://schemas.microsoft.com/office/drawing/2014/main" id="{6DC46357-2221-4D92-881D-0F7E02438D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327404" y="4893791"/>
            <a:ext cx="514033" cy="514033"/>
          </a:xfrm>
          <a:prstGeom prst="rect">
            <a:avLst/>
          </a:prstGeom>
        </p:spPr>
      </p:pic>
      <p:sp>
        <p:nvSpPr>
          <p:cNvPr id="22" name="Rechthoek 21">
            <a:extLst>
              <a:ext uri="{FF2B5EF4-FFF2-40B4-BE49-F238E27FC236}">
                <a16:creationId xmlns:a16="http://schemas.microsoft.com/office/drawing/2014/main" id="{0F66C47C-BFA6-4973-AF13-A35B41D7C2E1}"/>
              </a:ext>
            </a:extLst>
          </p:cNvPr>
          <p:cNvSpPr/>
          <p:nvPr/>
        </p:nvSpPr>
        <p:spPr>
          <a:xfrm>
            <a:off x="965051" y="4962465"/>
            <a:ext cx="1957712" cy="3823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597">
              <a:defRPr/>
            </a:pPr>
            <a:r>
              <a:rPr lang="nl-NL" sz="1836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@</a:t>
            </a:r>
            <a:r>
              <a:rPr lang="nl-NL" sz="1836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berthoitingh</a:t>
            </a:r>
            <a:endParaRPr lang="en-US" sz="1836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4" name="Afbeelding 23" descr="Afbeelding met tekening&#10;&#10;Automatisch gegenereerde beschrijving">
            <a:extLst>
              <a:ext uri="{FF2B5EF4-FFF2-40B4-BE49-F238E27FC236}">
                <a16:creationId xmlns:a16="http://schemas.microsoft.com/office/drawing/2014/main" id="{2101271A-3050-46B6-A648-523D2F01C9E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327403" y="5553544"/>
            <a:ext cx="514033" cy="514033"/>
          </a:xfrm>
          <a:prstGeom prst="rect">
            <a:avLst/>
          </a:prstGeom>
        </p:spPr>
      </p:pic>
      <p:sp>
        <p:nvSpPr>
          <p:cNvPr id="27" name="Rechthoek 26">
            <a:extLst>
              <a:ext uri="{FF2B5EF4-FFF2-40B4-BE49-F238E27FC236}">
                <a16:creationId xmlns:a16="http://schemas.microsoft.com/office/drawing/2014/main" id="{C3271693-9D19-4E97-B5F5-DE370EE7FDE8}"/>
              </a:ext>
            </a:extLst>
          </p:cNvPr>
          <p:cNvSpPr/>
          <p:nvPr/>
        </p:nvSpPr>
        <p:spPr>
          <a:xfrm>
            <a:off x="965051" y="5622219"/>
            <a:ext cx="3414094" cy="3823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597">
              <a:defRPr/>
            </a:pPr>
            <a:r>
              <a:rPr lang="nl-NL" sz="1836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ttps://linkedin.com/in/appieh</a:t>
            </a:r>
            <a:endParaRPr lang="en-US" sz="1836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3" name="Afbeelding 22" descr="Afbeelding met tekening, venster&#10;&#10;Automatisch gegenereerde beschrijving">
            <a:extLst>
              <a:ext uri="{FF2B5EF4-FFF2-40B4-BE49-F238E27FC236}">
                <a16:creationId xmlns:a16="http://schemas.microsoft.com/office/drawing/2014/main" id="{0DA6E98D-8084-40FE-8CBD-04E72062D2B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0"/>
              </a:ext>
            </a:extLst>
          </a:blip>
          <a:stretch>
            <a:fillRect/>
          </a:stretch>
        </p:blipFill>
        <p:spPr>
          <a:xfrm>
            <a:off x="290360" y="6192095"/>
            <a:ext cx="514033" cy="514033"/>
          </a:xfrm>
          <a:prstGeom prst="rect">
            <a:avLst/>
          </a:prstGeom>
        </p:spPr>
      </p:pic>
      <p:sp>
        <p:nvSpPr>
          <p:cNvPr id="28" name="Rechthoek 27">
            <a:extLst>
              <a:ext uri="{FF2B5EF4-FFF2-40B4-BE49-F238E27FC236}">
                <a16:creationId xmlns:a16="http://schemas.microsoft.com/office/drawing/2014/main" id="{9BFAB729-6C3A-4F21-96AE-E0D854440434}"/>
              </a:ext>
            </a:extLst>
          </p:cNvPr>
          <p:cNvSpPr/>
          <p:nvPr/>
        </p:nvSpPr>
        <p:spPr>
          <a:xfrm>
            <a:off x="965050" y="6260770"/>
            <a:ext cx="2987709" cy="3823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32597">
              <a:defRPr/>
            </a:pPr>
            <a:r>
              <a:rPr lang="nl-NL" sz="1836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ttps://alberthoitingh.com</a:t>
            </a:r>
            <a:endParaRPr lang="en-US" sz="1836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Afbeelding 1" descr="Afbeelding met tekening, teken&#10;&#10;Automatisch gegenereerde beschrijving">
            <a:extLst>
              <a:ext uri="{FF2B5EF4-FFF2-40B4-BE49-F238E27FC236}">
                <a16:creationId xmlns:a16="http://schemas.microsoft.com/office/drawing/2014/main" id="{605F9E32-7574-4F05-8819-043CCB7A6FC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057" y="2816274"/>
            <a:ext cx="1091478" cy="1091478"/>
          </a:xfrm>
          <a:prstGeom prst="rect">
            <a:avLst/>
          </a:prstGeom>
        </p:spPr>
      </p:pic>
      <p:pic>
        <p:nvPicPr>
          <p:cNvPr id="5" name="Afbeelding 4" descr="Afbeelding met teken, buiten, fles, blauw&#10;&#10;Automatisch gegenereerde beschrijving">
            <a:extLst>
              <a:ext uri="{FF2B5EF4-FFF2-40B4-BE49-F238E27FC236}">
                <a16:creationId xmlns:a16="http://schemas.microsoft.com/office/drawing/2014/main" id="{00AE53F8-6037-4720-A444-CFFD87D34B0D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3"/>
              </a:ext>
            </a:extLst>
          </a:blip>
          <a:stretch>
            <a:fillRect/>
          </a:stretch>
        </p:blipFill>
        <p:spPr>
          <a:xfrm>
            <a:off x="1414394" y="2834810"/>
            <a:ext cx="770206" cy="770206"/>
          </a:xfrm>
          <a:prstGeom prst="rect">
            <a:avLst/>
          </a:prstGeom>
        </p:spPr>
      </p:pic>
      <p:pic>
        <p:nvPicPr>
          <p:cNvPr id="7" name="Picture 2" descr="Microsoft 365 Certified: Security Administrator Associate">
            <a:extLst>
              <a:ext uri="{FF2B5EF4-FFF2-40B4-BE49-F238E27FC236}">
                <a16:creationId xmlns:a16="http://schemas.microsoft.com/office/drawing/2014/main" id="{064CFE50-4601-4C5F-BCBD-C8DF019EDE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498" y="2834810"/>
            <a:ext cx="770206" cy="770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Afbeelding 12" descr="Afbeelding met teken&#10;&#10;Automatisch gegenereerde beschrijving">
            <a:extLst>
              <a:ext uri="{FF2B5EF4-FFF2-40B4-BE49-F238E27FC236}">
                <a16:creationId xmlns:a16="http://schemas.microsoft.com/office/drawing/2014/main" id="{16D4A16E-F6E3-4524-88FC-271E25FDAEE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775827" y="2834810"/>
            <a:ext cx="770206" cy="770206"/>
          </a:xfrm>
          <a:prstGeom prst="rect">
            <a:avLst/>
          </a:prstGeom>
        </p:spPr>
      </p:pic>
      <p:pic>
        <p:nvPicPr>
          <p:cNvPr id="14" name="Afbeelding 13" descr="Afbeelding met teken, blauw, zitten, bus&#10;&#10;Automatisch gegenereerde beschrijving">
            <a:extLst>
              <a:ext uri="{FF2B5EF4-FFF2-40B4-BE49-F238E27FC236}">
                <a16:creationId xmlns:a16="http://schemas.microsoft.com/office/drawing/2014/main" id="{EFFF47AC-2B53-4201-B8B4-8FD75480D4C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310" y="2834810"/>
            <a:ext cx="770206" cy="770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2867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A33CF52-AC2A-4BE1-A019-776A116F4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043271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872B6F35-72C5-416F-8051-59844064F111}"/>
              </a:ext>
            </a:extLst>
          </p:cNvPr>
          <p:cNvSpPr/>
          <p:nvPr/>
        </p:nvSpPr>
        <p:spPr bwMode="auto">
          <a:xfrm>
            <a:off x="6567517" y="-156496"/>
            <a:ext cx="5903545" cy="730751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3639EEED-8837-4BF8-81F8-622E98E4C945}"/>
              </a:ext>
            </a:extLst>
          </p:cNvPr>
          <p:cNvSpPr txBox="1">
            <a:spLocks/>
          </p:cNvSpPr>
          <p:nvPr/>
        </p:nvSpPr>
        <p:spPr>
          <a:xfrm>
            <a:off x="427004" y="447675"/>
            <a:ext cx="11888047" cy="9175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91427" rIns="0" bIns="91427" rtlCol="0" anchor="ctr" anchorCtr="0" compatLnSpc="1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38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672" b="0" i="0" u="none" strike="noStrike" kern="1200" cap="none" spc="-102" normalizeH="0" baseline="0" noProof="0" dirty="0" err="1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 Black" pitchFamily="34"/>
                <a:cs typeface="Segoe UI" pitchFamily="34" charset="0"/>
              </a:rPr>
              <a:t>Ignite</a:t>
            </a:r>
            <a:r>
              <a:rPr kumimoji="0" lang="nl-NL" sz="3672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 Black" pitchFamily="34"/>
                <a:cs typeface="Segoe UI" pitchFamily="34" charset="0"/>
              </a:rPr>
              <a:t> 2019 </a:t>
            </a:r>
            <a:r>
              <a:rPr kumimoji="0" lang="nl-NL" sz="3672" b="0" i="0" u="none" strike="noStrike" kern="1200" cap="none" spc="-102" normalizeH="0" baseline="0" noProof="0" dirty="0" err="1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 Black" pitchFamily="34"/>
                <a:cs typeface="Segoe UI" pitchFamily="34" charset="0"/>
              </a:rPr>
              <a:t>announcements</a:t>
            </a:r>
            <a:endParaRPr kumimoji="0" lang="nl-NL" sz="3672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Segoe UI Black" pitchFamily="34"/>
              <a:cs typeface="Segoe UI" pitchFamily="34" charset="0"/>
            </a:endParaRP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DAE7C62E-0B6C-4073-B3AF-E71B675FA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algn="r" defTabSz="930918" rtl="0" eaLnBrk="1" latinLnBrk="0" hangingPunct="1">
              <a:defRPr lang="x-none" sz="815" kern="1200" smtClean="0">
                <a:solidFill>
                  <a:schemeClr val="bg1"/>
                </a:solidFill>
                <a:latin typeface="Segoe UI Semibold" panose="020B0702040204020203" pitchFamily="34" charset="0"/>
                <a:ea typeface="Arial" panose="020B0604020202020204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r" defTabSz="9309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7B4DB-FF93-49F5-8B48-85D85AAA1E51}" type="slidenum">
              <a:rPr kumimoji="0" lang="x-none" sz="815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pPr marL="0" marR="0" lvl="0" indent="0" algn="r" defTabSz="9309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x-none" sz="81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71" name="Rechthoek 170">
            <a:extLst>
              <a:ext uri="{FF2B5EF4-FFF2-40B4-BE49-F238E27FC236}">
                <a16:creationId xmlns:a16="http://schemas.microsoft.com/office/drawing/2014/main" id="{E649FF0A-89FE-4838-9E6E-4E8EEF3832D0}"/>
              </a:ext>
            </a:extLst>
          </p:cNvPr>
          <p:cNvSpPr/>
          <p:nvPr/>
        </p:nvSpPr>
        <p:spPr>
          <a:xfrm>
            <a:off x="6997641" y="1419770"/>
            <a:ext cx="5043296" cy="489364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nsitivity labels for sites/groups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abel a Team, Office Group and SharePoint site</a:t>
            </a: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ffects privacy, external access and device access</a:t>
            </a: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oes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effect documents in the Team, Group or site!</a:t>
            </a: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es require an Azure AD conditional access ru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54" name="Afbeelding 153">
            <a:extLst>
              <a:ext uri="{FF2B5EF4-FFF2-40B4-BE49-F238E27FC236}">
                <a16:creationId xmlns:a16="http://schemas.microsoft.com/office/drawing/2014/main" id="{0980C6E9-E12B-44E4-A0DD-2AC3932A79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762" y="1440391"/>
            <a:ext cx="3134734" cy="2705878"/>
          </a:xfrm>
          <a:prstGeom prst="rect">
            <a:avLst/>
          </a:prstGeom>
        </p:spPr>
      </p:pic>
      <p:pic>
        <p:nvPicPr>
          <p:cNvPr id="155" name="Picture 2">
            <a:extLst>
              <a:ext uri="{FF2B5EF4-FFF2-40B4-BE49-F238E27FC236}">
                <a16:creationId xmlns:a16="http://schemas.microsoft.com/office/drawing/2014/main" id="{78B79538-7C3B-41CD-A793-DC7AF10E7D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9351" y="3766203"/>
            <a:ext cx="4975028" cy="2481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5672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A33CF52-AC2A-4BE1-A019-776A116F4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5598801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872B6F35-72C5-416F-8051-59844064F111}"/>
              </a:ext>
            </a:extLst>
          </p:cNvPr>
          <p:cNvSpPr/>
          <p:nvPr/>
        </p:nvSpPr>
        <p:spPr bwMode="auto">
          <a:xfrm>
            <a:off x="6567517" y="-156496"/>
            <a:ext cx="5903545" cy="730751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3639EEED-8837-4BF8-81F8-622E98E4C945}"/>
              </a:ext>
            </a:extLst>
          </p:cNvPr>
          <p:cNvSpPr txBox="1">
            <a:spLocks/>
          </p:cNvSpPr>
          <p:nvPr/>
        </p:nvSpPr>
        <p:spPr>
          <a:xfrm>
            <a:off x="427004" y="447675"/>
            <a:ext cx="11888047" cy="9175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91427" rIns="0" bIns="91427" rtlCol="0" anchor="ctr" anchorCtr="0" compatLnSpc="1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38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672" b="0" i="0" u="none" strike="noStrike" kern="1200" cap="none" spc="-102" normalizeH="0" baseline="0" noProof="0" dirty="0" err="1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 Black" pitchFamily="34"/>
                <a:cs typeface="Segoe UI" pitchFamily="34" charset="0"/>
              </a:rPr>
              <a:t>Ignite</a:t>
            </a:r>
            <a:r>
              <a:rPr kumimoji="0" lang="nl-NL" sz="3672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 Black" pitchFamily="34"/>
                <a:cs typeface="Segoe UI" pitchFamily="34" charset="0"/>
              </a:rPr>
              <a:t> 2019 </a:t>
            </a:r>
            <a:r>
              <a:rPr kumimoji="0" lang="nl-NL" sz="3672" b="0" i="0" u="none" strike="noStrike" kern="1200" cap="none" spc="-102" normalizeH="0" baseline="0" noProof="0" dirty="0" err="1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 Black" pitchFamily="34"/>
                <a:cs typeface="Segoe UI" pitchFamily="34" charset="0"/>
              </a:rPr>
              <a:t>announcements</a:t>
            </a:r>
            <a:endParaRPr kumimoji="0" lang="nl-NL" sz="3672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Segoe UI Black" pitchFamily="34"/>
              <a:cs typeface="Segoe UI" pitchFamily="34" charset="0"/>
            </a:endParaRP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DAE7C62E-0B6C-4073-B3AF-E71B675FA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algn="r" defTabSz="930918" rtl="0" eaLnBrk="1" latinLnBrk="0" hangingPunct="1">
              <a:defRPr lang="x-none" sz="815" kern="1200" smtClean="0">
                <a:solidFill>
                  <a:schemeClr val="bg1"/>
                </a:solidFill>
                <a:latin typeface="Segoe UI Semibold" panose="020B0702040204020203" pitchFamily="34" charset="0"/>
                <a:ea typeface="Arial" panose="020B0604020202020204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r" defTabSz="9309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7B4DB-FF93-49F5-8B48-85D85AAA1E51}" type="slidenum">
              <a:rPr kumimoji="0" lang="x-none" sz="815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pPr marL="0" marR="0" lvl="0" indent="0" algn="r" defTabSz="9309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x-none" sz="81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71" name="Rechthoek 170">
            <a:extLst>
              <a:ext uri="{FF2B5EF4-FFF2-40B4-BE49-F238E27FC236}">
                <a16:creationId xmlns:a16="http://schemas.microsoft.com/office/drawing/2014/main" id="{E649FF0A-89FE-4838-9E6E-4E8EEF3832D0}"/>
              </a:ext>
            </a:extLst>
          </p:cNvPr>
          <p:cNvSpPr/>
          <p:nvPr/>
        </p:nvSpPr>
        <p:spPr>
          <a:xfrm>
            <a:off x="6997641" y="1419770"/>
            <a:ext cx="5043296" cy="415498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ata classification at rest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s the Microsoft 365 DLP engine</a:t>
            </a: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 need for MCAS anymore</a:t>
            </a: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ice “Simulation mode”</a:t>
            </a: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ill take some time to become active</a:t>
            </a:r>
          </a:p>
        </p:txBody>
      </p:sp>
      <p:pic>
        <p:nvPicPr>
          <p:cNvPr id="9" name="Afbeelding 8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54DCE97A-FDB4-497F-BAD5-F03120E11D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899" y="2346996"/>
            <a:ext cx="5903545" cy="2244155"/>
          </a:xfrm>
          <a:prstGeom prst="rect">
            <a:avLst/>
          </a:prstGeom>
        </p:spPr>
      </p:pic>
      <p:pic>
        <p:nvPicPr>
          <p:cNvPr id="137" name="Afbeelding 136">
            <a:extLst>
              <a:ext uri="{FF2B5EF4-FFF2-40B4-BE49-F238E27FC236}">
                <a16:creationId xmlns:a16="http://schemas.microsoft.com/office/drawing/2014/main" id="{A15DA67C-ECC5-4E3D-BA89-1A025AB8F7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414" y="5076824"/>
            <a:ext cx="6140513" cy="361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8127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A33CF52-AC2A-4BE1-A019-776A116F4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2206381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872B6F35-72C5-416F-8051-59844064F111}"/>
              </a:ext>
            </a:extLst>
          </p:cNvPr>
          <p:cNvSpPr/>
          <p:nvPr/>
        </p:nvSpPr>
        <p:spPr bwMode="auto">
          <a:xfrm>
            <a:off x="6567517" y="-156496"/>
            <a:ext cx="5903545" cy="730751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3639EEED-8837-4BF8-81F8-622E98E4C945}"/>
              </a:ext>
            </a:extLst>
          </p:cNvPr>
          <p:cNvSpPr txBox="1">
            <a:spLocks/>
          </p:cNvSpPr>
          <p:nvPr/>
        </p:nvSpPr>
        <p:spPr>
          <a:xfrm>
            <a:off x="427004" y="447675"/>
            <a:ext cx="11888047" cy="9175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91427" rIns="0" bIns="91427" rtlCol="0" anchor="ctr" anchorCtr="0" compatLnSpc="1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38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672" b="0" i="0" u="none" strike="noStrike" kern="1200" cap="none" spc="-102" normalizeH="0" baseline="0" noProof="0" dirty="0" err="1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 Black" pitchFamily="34"/>
                <a:cs typeface="Segoe UI" pitchFamily="34" charset="0"/>
              </a:rPr>
              <a:t>Ignite</a:t>
            </a:r>
            <a:r>
              <a:rPr kumimoji="0" lang="nl-NL" sz="3672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 Black" pitchFamily="34"/>
                <a:cs typeface="Segoe UI" pitchFamily="34" charset="0"/>
              </a:rPr>
              <a:t> 2019 </a:t>
            </a:r>
            <a:r>
              <a:rPr kumimoji="0" lang="nl-NL" sz="3672" b="0" i="0" u="none" strike="noStrike" kern="1200" cap="none" spc="-102" normalizeH="0" baseline="0" noProof="0" dirty="0" err="1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 Black" pitchFamily="34"/>
                <a:cs typeface="Segoe UI" pitchFamily="34" charset="0"/>
              </a:rPr>
              <a:t>announcements</a:t>
            </a:r>
            <a:endParaRPr kumimoji="0" lang="nl-NL" sz="3672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Segoe UI Black" pitchFamily="34"/>
              <a:cs typeface="Segoe UI" pitchFamily="34" charset="0"/>
            </a:endParaRP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DAE7C62E-0B6C-4073-B3AF-E71B675FA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algn="r" defTabSz="930918" rtl="0" eaLnBrk="1" latinLnBrk="0" hangingPunct="1">
              <a:defRPr lang="x-none" sz="815" kern="1200" smtClean="0">
                <a:solidFill>
                  <a:schemeClr val="bg1"/>
                </a:solidFill>
                <a:latin typeface="Segoe UI Semibold" panose="020B0702040204020203" pitchFamily="34" charset="0"/>
                <a:ea typeface="Arial" panose="020B0604020202020204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r" defTabSz="9309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7B4DB-FF93-49F5-8B48-85D85AAA1E51}" type="slidenum">
              <a:rPr kumimoji="0" lang="x-none" sz="815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pPr marL="0" marR="0" lvl="0" indent="0" algn="r" defTabSz="9309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x-none" sz="81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71" name="Rechthoek 170">
            <a:extLst>
              <a:ext uri="{FF2B5EF4-FFF2-40B4-BE49-F238E27FC236}">
                <a16:creationId xmlns:a16="http://schemas.microsoft.com/office/drawing/2014/main" id="{E649FF0A-89FE-4838-9E6E-4E8EEF3832D0}"/>
              </a:ext>
            </a:extLst>
          </p:cNvPr>
          <p:cNvSpPr/>
          <p:nvPr/>
        </p:nvSpPr>
        <p:spPr>
          <a:xfrm>
            <a:off x="6997641" y="1419770"/>
            <a:ext cx="5043296" cy="304698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ainable classifiers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 Machine Teaching</a:t>
            </a: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mplementary to current sensitive information types</a:t>
            </a: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veral classifiers out of the box</a:t>
            </a:r>
          </a:p>
        </p:txBody>
      </p:sp>
      <p:pic>
        <p:nvPicPr>
          <p:cNvPr id="152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172EFA0C-D01B-418E-83DB-C129C44AAF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618" y="1772950"/>
            <a:ext cx="5311531" cy="2987736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7F388D9E-5862-4636-96A5-A10D281E2B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3826" y="5262136"/>
            <a:ext cx="5182323" cy="466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3485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A33CF52-AC2A-4BE1-A019-776A116F4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8884279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872B6F35-72C5-416F-8051-59844064F111}"/>
              </a:ext>
            </a:extLst>
          </p:cNvPr>
          <p:cNvSpPr/>
          <p:nvPr/>
        </p:nvSpPr>
        <p:spPr bwMode="auto">
          <a:xfrm>
            <a:off x="6567517" y="-156496"/>
            <a:ext cx="5903545" cy="730751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3639EEED-8837-4BF8-81F8-622E98E4C945}"/>
              </a:ext>
            </a:extLst>
          </p:cNvPr>
          <p:cNvSpPr txBox="1">
            <a:spLocks/>
          </p:cNvSpPr>
          <p:nvPr/>
        </p:nvSpPr>
        <p:spPr>
          <a:xfrm>
            <a:off x="427004" y="447675"/>
            <a:ext cx="11888047" cy="9175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91427" rIns="0" bIns="91427" rtlCol="0" anchor="ctr" anchorCtr="0" compatLnSpc="1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38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672" b="0" i="0" u="none" strike="noStrike" kern="1200" cap="none" spc="-102" normalizeH="0" baseline="0" noProof="0" dirty="0" err="1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 Black" pitchFamily="34"/>
                <a:cs typeface="Segoe UI" pitchFamily="34" charset="0"/>
              </a:rPr>
              <a:t>Ignite</a:t>
            </a:r>
            <a:r>
              <a:rPr kumimoji="0" lang="nl-NL" sz="3672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 Black" pitchFamily="34"/>
                <a:cs typeface="Segoe UI" pitchFamily="34" charset="0"/>
              </a:rPr>
              <a:t> 2019 </a:t>
            </a:r>
            <a:r>
              <a:rPr kumimoji="0" lang="nl-NL" sz="3672" b="0" i="0" u="none" strike="noStrike" kern="1200" cap="none" spc="-102" normalizeH="0" baseline="0" noProof="0" dirty="0" err="1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 Black" pitchFamily="34"/>
                <a:cs typeface="Segoe UI" pitchFamily="34" charset="0"/>
              </a:rPr>
              <a:t>announcements</a:t>
            </a:r>
            <a:endParaRPr kumimoji="0" lang="nl-NL" sz="3672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Segoe UI Black" pitchFamily="34"/>
              <a:cs typeface="Segoe UI" pitchFamily="34" charset="0"/>
            </a:endParaRP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DAE7C62E-0B6C-4073-B3AF-E71B675FA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algn="r" defTabSz="930918" rtl="0" eaLnBrk="1" latinLnBrk="0" hangingPunct="1">
              <a:defRPr lang="x-none" sz="815" kern="1200" smtClean="0">
                <a:solidFill>
                  <a:schemeClr val="bg1"/>
                </a:solidFill>
                <a:latin typeface="Segoe UI Semibold" panose="020B0702040204020203" pitchFamily="34" charset="0"/>
                <a:ea typeface="Arial" panose="020B0604020202020204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r" defTabSz="9309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7B4DB-FF93-49F5-8B48-85D85AAA1E51}" type="slidenum">
              <a:rPr kumimoji="0" lang="x-none" sz="815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pPr marL="0" marR="0" lvl="0" indent="0" algn="r" defTabSz="9309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x-none" sz="81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71" name="Rechthoek 170">
            <a:extLst>
              <a:ext uri="{FF2B5EF4-FFF2-40B4-BE49-F238E27FC236}">
                <a16:creationId xmlns:a16="http://schemas.microsoft.com/office/drawing/2014/main" id="{E649FF0A-89FE-4838-9E6E-4E8EEF3832D0}"/>
              </a:ext>
            </a:extLst>
          </p:cNvPr>
          <p:cNvSpPr/>
          <p:nvPr/>
        </p:nvSpPr>
        <p:spPr>
          <a:xfrm>
            <a:off x="6997641" y="1419770"/>
            <a:ext cx="5043296" cy="267765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ata classification dashboard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ctivity explorer</a:t>
            </a: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ntent explorer</a:t>
            </a: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ainable classifiers</a:t>
            </a:r>
          </a:p>
        </p:txBody>
      </p:sp>
      <p:pic>
        <p:nvPicPr>
          <p:cNvPr id="15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C0D0453F-1FA9-403B-A6C5-4D8325638F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900" y="1561668"/>
            <a:ext cx="3769416" cy="2120297"/>
          </a:xfrm>
          <a:prstGeom prst="rect">
            <a:avLst/>
          </a:prstGeom>
        </p:spPr>
      </p:pic>
      <p:pic>
        <p:nvPicPr>
          <p:cNvPr id="157" name="Picture 7" descr="A screenshot of a cell phone&#10;&#10;Description automatically generated">
            <a:extLst>
              <a:ext uri="{FF2B5EF4-FFF2-40B4-BE49-F238E27FC236}">
                <a16:creationId xmlns:a16="http://schemas.microsoft.com/office/drawing/2014/main" id="{031DEE19-FE3F-4333-9231-AA5D297C0AE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9515" y="3433541"/>
            <a:ext cx="4619875" cy="2598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0550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872B6F35-72C5-416F-8051-59844064F111}"/>
              </a:ext>
            </a:extLst>
          </p:cNvPr>
          <p:cNvSpPr/>
          <p:nvPr/>
        </p:nvSpPr>
        <p:spPr bwMode="auto">
          <a:xfrm>
            <a:off x="6567517" y="-156496"/>
            <a:ext cx="5903545" cy="730751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3639EEED-8837-4BF8-81F8-622E98E4C945}"/>
              </a:ext>
            </a:extLst>
          </p:cNvPr>
          <p:cNvSpPr txBox="1">
            <a:spLocks/>
          </p:cNvSpPr>
          <p:nvPr/>
        </p:nvSpPr>
        <p:spPr>
          <a:xfrm>
            <a:off x="427004" y="447675"/>
            <a:ext cx="11888047" cy="9175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91427" rIns="0" bIns="91427" rtlCol="0" anchor="ctr" anchorCtr="0" compatLnSpc="1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38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672" b="0" i="0" u="none" strike="noStrike" kern="1200" cap="none" spc="-102" normalizeH="0" baseline="0" noProof="0" dirty="0" err="1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 Black" pitchFamily="34"/>
                <a:cs typeface="Segoe UI" pitchFamily="34" charset="0"/>
              </a:rPr>
              <a:t>Learn</a:t>
            </a:r>
            <a:r>
              <a:rPr kumimoji="0" lang="nl-NL" sz="3672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 Black" pitchFamily="34"/>
                <a:cs typeface="Segoe UI" pitchFamily="34" charset="0"/>
              </a:rPr>
              <a:t> more?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DAE7C62E-0B6C-4073-B3AF-E71B675FA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algn="r" defTabSz="930918" rtl="0" eaLnBrk="1" latinLnBrk="0" hangingPunct="1">
              <a:defRPr lang="x-none" sz="815" kern="1200" smtClean="0">
                <a:solidFill>
                  <a:schemeClr val="bg1"/>
                </a:solidFill>
                <a:latin typeface="Segoe UI Semibold" panose="020B0702040204020203" pitchFamily="34" charset="0"/>
                <a:ea typeface="Arial" panose="020B0604020202020204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r" defTabSz="9309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7B4DB-FF93-49F5-8B48-85D85AAA1E51}" type="slidenum">
              <a:rPr kumimoji="0" lang="x-none" sz="815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pPr marL="0" marR="0" lvl="0" indent="0" algn="r" defTabSz="9309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x-none" sz="81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71" name="Rechthoek 170">
            <a:extLst>
              <a:ext uri="{FF2B5EF4-FFF2-40B4-BE49-F238E27FC236}">
                <a16:creationId xmlns:a16="http://schemas.microsoft.com/office/drawing/2014/main" id="{E649FF0A-89FE-4838-9E6E-4E8EEF3832D0}"/>
              </a:ext>
            </a:extLst>
          </p:cNvPr>
          <p:cNvSpPr/>
          <p:nvPr/>
        </p:nvSpPr>
        <p:spPr>
          <a:xfrm>
            <a:off x="6997641" y="2527766"/>
            <a:ext cx="5043296" cy="193899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levant link: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ttps://docs.microsoft.com/en-us/microsoft-365/compliance/sensitivity-labels</a:t>
            </a:r>
          </a:p>
        </p:txBody>
      </p:sp>
      <p:pic>
        <p:nvPicPr>
          <p:cNvPr id="152" name="Afbeelding 151">
            <a:extLst>
              <a:ext uri="{FF2B5EF4-FFF2-40B4-BE49-F238E27FC236}">
                <a16:creationId xmlns:a16="http://schemas.microsoft.com/office/drawing/2014/main" id="{5951B0A1-D11F-4017-8EE3-9DF706F34D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004" y="2107258"/>
            <a:ext cx="5619292" cy="3209022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0957933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DD80020-2CE3-4F8E-A956-485C9E2C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003" y="2919303"/>
            <a:ext cx="7626856" cy="3605405"/>
          </a:xfrm>
        </p:spPr>
        <p:txBody>
          <a:bodyPr/>
          <a:lstStyle/>
          <a:p>
            <a:pPr lvl="0"/>
            <a:r>
              <a:rPr lang="en-US" dirty="0">
                <a:sym typeface="Segoe UI"/>
              </a:rPr>
              <a:t>Wrapping up…</a:t>
            </a:r>
            <a:endParaRPr lang="en-US" noProof="0" dirty="0">
              <a:sym typeface="Segoe UI"/>
            </a:endParaRPr>
          </a:p>
        </p:txBody>
      </p:sp>
      <p:grpSp>
        <p:nvGrpSpPr>
          <p:cNvPr id="11" name="Group 14">
            <a:extLst>
              <a:ext uri="{FF2B5EF4-FFF2-40B4-BE49-F238E27FC236}">
                <a16:creationId xmlns:a16="http://schemas.microsoft.com/office/drawing/2014/main" id="{D05E2C68-D565-48F5-8561-4A2B93A5789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5003" y="469816"/>
            <a:ext cx="3565802" cy="3150880"/>
            <a:chOff x="4410" y="3609"/>
            <a:chExt cx="275" cy="243"/>
          </a:xfrm>
        </p:grpSpPr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33E8F77C-943A-40D4-B3EC-B851548D5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" y="3624"/>
              <a:ext cx="168" cy="50"/>
            </a:xfrm>
            <a:custGeom>
              <a:avLst/>
              <a:gdLst>
                <a:gd name="T0" fmla="*/ 0 w 226"/>
                <a:gd name="T1" fmla="*/ 67 h 67"/>
                <a:gd name="T2" fmla="*/ 0 w 226"/>
                <a:gd name="T3" fmla="*/ 67 h 67"/>
                <a:gd name="T4" fmla="*/ 226 w 226"/>
                <a:gd name="T5" fmla="*/ 67 h 67"/>
                <a:gd name="T6" fmla="*/ 226 w 226"/>
                <a:gd name="T7" fmla="*/ 0 h 67"/>
                <a:gd name="T8" fmla="*/ 0 w 226"/>
                <a:gd name="T9" fmla="*/ 0 h 67"/>
                <a:gd name="T10" fmla="*/ 0 w 226"/>
                <a:gd name="T11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6" h="67">
                  <a:moveTo>
                    <a:pt x="0" y="67"/>
                  </a:moveTo>
                  <a:lnTo>
                    <a:pt x="0" y="67"/>
                  </a:lnTo>
                  <a:lnTo>
                    <a:pt x="226" y="67"/>
                  </a:lnTo>
                  <a:lnTo>
                    <a:pt x="226" y="0"/>
                  </a:lnTo>
                  <a:lnTo>
                    <a:pt x="0" y="0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rgbClr val="C1C1C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282828"/>
                </a:solidFill>
                <a:latin typeface="Segoe UI"/>
              </a:endParaRPr>
            </a:p>
          </p:txBody>
        </p:sp>
        <p:sp>
          <p:nvSpPr>
            <p:cNvPr id="13" name="Freeform 16">
              <a:extLst>
                <a:ext uri="{FF2B5EF4-FFF2-40B4-BE49-F238E27FC236}">
                  <a16:creationId xmlns:a16="http://schemas.microsoft.com/office/drawing/2014/main" id="{3753FACB-9CEF-428C-B617-89FE2582F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" y="3713"/>
              <a:ext cx="168" cy="50"/>
            </a:xfrm>
            <a:custGeom>
              <a:avLst/>
              <a:gdLst>
                <a:gd name="T0" fmla="*/ 0 w 226"/>
                <a:gd name="T1" fmla="*/ 67 h 67"/>
                <a:gd name="T2" fmla="*/ 0 w 226"/>
                <a:gd name="T3" fmla="*/ 67 h 67"/>
                <a:gd name="T4" fmla="*/ 226 w 226"/>
                <a:gd name="T5" fmla="*/ 67 h 67"/>
                <a:gd name="T6" fmla="*/ 226 w 226"/>
                <a:gd name="T7" fmla="*/ 0 h 67"/>
                <a:gd name="T8" fmla="*/ 0 w 226"/>
                <a:gd name="T9" fmla="*/ 0 h 67"/>
                <a:gd name="T10" fmla="*/ 0 w 226"/>
                <a:gd name="T11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6" h="67">
                  <a:moveTo>
                    <a:pt x="0" y="67"/>
                  </a:moveTo>
                  <a:lnTo>
                    <a:pt x="0" y="67"/>
                  </a:lnTo>
                  <a:lnTo>
                    <a:pt x="226" y="67"/>
                  </a:lnTo>
                  <a:lnTo>
                    <a:pt x="226" y="0"/>
                  </a:lnTo>
                  <a:lnTo>
                    <a:pt x="0" y="0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rgbClr val="C1C1C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282828"/>
                </a:solidFill>
                <a:latin typeface="Segoe UI"/>
              </a:endParaRPr>
            </a:p>
          </p:txBody>
        </p:sp>
        <p:sp>
          <p:nvSpPr>
            <p:cNvPr id="14" name="Freeform 17">
              <a:extLst>
                <a:ext uri="{FF2B5EF4-FFF2-40B4-BE49-F238E27FC236}">
                  <a16:creationId xmlns:a16="http://schemas.microsoft.com/office/drawing/2014/main" id="{E45CD59F-3763-4CE6-8DBF-C933278F8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" y="3802"/>
              <a:ext cx="168" cy="50"/>
            </a:xfrm>
            <a:custGeom>
              <a:avLst/>
              <a:gdLst>
                <a:gd name="T0" fmla="*/ 0 w 226"/>
                <a:gd name="T1" fmla="*/ 67 h 67"/>
                <a:gd name="T2" fmla="*/ 0 w 226"/>
                <a:gd name="T3" fmla="*/ 67 h 67"/>
                <a:gd name="T4" fmla="*/ 226 w 226"/>
                <a:gd name="T5" fmla="*/ 67 h 67"/>
                <a:gd name="T6" fmla="*/ 226 w 226"/>
                <a:gd name="T7" fmla="*/ 0 h 67"/>
                <a:gd name="T8" fmla="*/ 0 w 226"/>
                <a:gd name="T9" fmla="*/ 0 h 67"/>
                <a:gd name="T10" fmla="*/ 0 w 226"/>
                <a:gd name="T11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6" h="67">
                  <a:moveTo>
                    <a:pt x="0" y="67"/>
                  </a:moveTo>
                  <a:lnTo>
                    <a:pt x="0" y="67"/>
                  </a:lnTo>
                  <a:lnTo>
                    <a:pt x="226" y="67"/>
                  </a:lnTo>
                  <a:lnTo>
                    <a:pt x="226" y="0"/>
                  </a:lnTo>
                  <a:lnTo>
                    <a:pt x="0" y="0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rgbClr val="C1C1C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282828"/>
                </a:solidFill>
                <a:latin typeface="Segoe UI"/>
              </a:endParaRPr>
            </a:p>
          </p:txBody>
        </p:sp>
        <p:sp>
          <p:nvSpPr>
            <p:cNvPr id="15" name="Freeform 18">
              <a:extLst>
                <a:ext uri="{FF2B5EF4-FFF2-40B4-BE49-F238E27FC236}">
                  <a16:creationId xmlns:a16="http://schemas.microsoft.com/office/drawing/2014/main" id="{9045D102-AD81-457E-A729-9AC754C0F4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3" y="3697"/>
              <a:ext cx="82" cy="66"/>
            </a:xfrm>
            <a:custGeom>
              <a:avLst/>
              <a:gdLst>
                <a:gd name="T0" fmla="*/ 96 w 110"/>
                <a:gd name="T1" fmla="*/ 0 h 88"/>
                <a:gd name="T2" fmla="*/ 96 w 110"/>
                <a:gd name="T3" fmla="*/ 0 h 88"/>
                <a:gd name="T4" fmla="*/ 37 w 110"/>
                <a:gd name="T5" fmla="*/ 60 h 88"/>
                <a:gd name="T6" fmla="*/ 14 w 110"/>
                <a:gd name="T7" fmla="*/ 37 h 88"/>
                <a:gd name="T8" fmla="*/ 0 w 110"/>
                <a:gd name="T9" fmla="*/ 51 h 88"/>
                <a:gd name="T10" fmla="*/ 37 w 110"/>
                <a:gd name="T11" fmla="*/ 88 h 88"/>
                <a:gd name="T12" fmla="*/ 110 w 110"/>
                <a:gd name="T13" fmla="*/ 14 h 88"/>
                <a:gd name="T14" fmla="*/ 96 w 110"/>
                <a:gd name="T15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88">
                  <a:moveTo>
                    <a:pt x="96" y="0"/>
                  </a:moveTo>
                  <a:lnTo>
                    <a:pt x="96" y="0"/>
                  </a:lnTo>
                  <a:lnTo>
                    <a:pt x="37" y="60"/>
                  </a:lnTo>
                  <a:lnTo>
                    <a:pt x="14" y="37"/>
                  </a:lnTo>
                  <a:lnTo>
                    <a:pt x="0" y="51"/>
                  </a:lnTo>
                  <a:lnTo>
                    <a:pt x="37" y="88"/>
                  </a:lnTo>
                  <a:lnTo>
                    <a:pt x="110" y="14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282828"/>
                </a:solidFill>
                <a:latin typeface="Segoe UI"/>
              </a:endParaRPr>
            </a:p>
          </p:txBody>
        </p:sp>
        <p:sp>
          <p:nvSpPr>
            <p:cNvPr id="16" name="Freeform 19">
              <a:extLst>
                <a:ext uri="{FF2B5EF4-FFF2-40B4-BE49-F238E27FC236}">
                  <a16:creationId xmlns:a16="http://schemas.microsoft.com/office/drawing/2014/main" id="{3D4107E5-A844-4522-9721-8BA36AF307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3" y="3786"/>
              <a:ext cx="82" cy="66"/>
            </a:xfrm>
            <a:custGeom>
              <a:avLst/>
              <a:gdLst>
                <a:gd name="T0" fmla="*/ 14 w 110"/>
                <a:gd name="T1" fmla="*/ 37 h 88"/>
                <a:gd name="T2" fmla="*/ 14 w 110"/>
                <a:gd name="T3" fmla="*/ 37 h 88"/>
                <a:gd name="T4" fmla="*/ 0 w 110"/>
                <a:gd name="T5" fmla="*/ 51 h 88"/>
                <a:gd name="T6" fmla="*/ 37 w 110"/>
                <a:gd name="T7" fmla="*/ 88 h 88"/>
                <a:gd name="T8" fmla="*/ 110 w 110"/>
                <a:gd name="T9" fmla="*/ 14 h 88"/>
                <a:gd name="T10" fmla="*/ 96 w 110"/>
                <a:gd name="T11" fmla="*/ 0 h 88"/>
                <a:gd name="T12" fmla="*/ 37 w 110"/>
                <a:gd name="T13" fmla="*/ 59 h 88"/>
                <a:gd name="T14" fmla="*/ 14 w 110"/>
                <a:gd name="T15" fmla="*/ 3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88">
                  <a:moveTo>
                    <a:pt x="14" y="37"/>
                  </a:moveTo>
                  <a:lnTo>
                    <a:pt x="14" y="37"/>
                  </a:lnTo>
                  <a:lnTo>
                    <a:pt x="0" y="51"/>
                  </a:lnTo>
                  <a:lnTo>
                    <a:pt x="37" y="88"/>
                  </a:lnTo>
                  <a:lnTo>
                    <a:pt x="110" y="14"/>
                  </a:lnTo>
                  <a:lnTo>
                    <a:pt x="96" y="0"/>
                  </a:lnTo>
                  <a:lnTo>
                    <a:pt x="37" y="59"/>
                  </a:lnTo>
                  <a:lnTo>
                    <a:pt x="14" y="37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282828"/>
                </a:solidFill>
                <a:latin typeface="Segoe UI"/>
              </a:endParaRPr>
            </a:p>
          </p:txBody>
        </p:sp>
        <p:sp>
          <p:nvSpPr>
            <p:cNvPr id="17" name="Freeform 20">
              <a:extLst>
                <a:ext uri="{FF2B5EF4-FFF2-40B4-BE49-F238E27FC236}">
                  <a16:creationId xmlns:a16="http://schemas.microsoft.com/office/drawing/2014/main" id="{458BABEC-CE9E-44EF-8268-6674083F4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3" y="3609"/>
              <a:ext cx="82" cy="65"/>
            </a:xfrm>
            <a:custGeom>
              <a:avLst/>
              <a:gdLst>
                <a:gd name="T0" fmla="*/ 96 w 110"/>
                <a:gd name="T1" fmla="*/ 0 h 87"/>
                <a:gd name="T2" fmla="*/ 96 w 110"/>
                <a:gd name="T3" fmla="*/ 0 h 87"/>
                <a:gd name="T4" fmla="*/ 37 w 110"/>
                <a:gd name="T5" fmla="*/ 59 h 87"/>
                <a:gd name="T6" fmla="*/ 14 w 110"/>
                <a:gd name="T7" fmla="*/ 36 h 87"/>
                <a:gd name="T8" fmla="*/ 0 w 110"/>
                <a:gd name="T9" fmla="*/ 50 h 87"/>
                <a:gd name="T10" fmla="*/ 37 w 110"/>
                <a:gd name="T11" fmla="*/ 87 h 87"/>
                <a:gd name="T12" fmla="*/ 110 w 110"/>
                <a:gd name="T13" fmla="*/ 14 h 87"/>
                <a:gd name="T14" fmla="*/ 96 w 110"/>
                <a:gd name="T1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87">
                  <a:moveTo>
                    <a:pt x="96" y="0"/>
                  </a:moveTo>
                  <a:lnTo>
                    <a:pt x="96" y="0"/>
                  </a:lnTo>
                  <a:lnTo>
                    <a:pt x="37" y="59"/>
                  </a:lnTo>
                  <a:lnTo>
                    <a:pt x="14" y="36"/>
                  </a:lnTo>
                  <a:lnTo>
                    <a:pt x="0" y="50"/>
                  </a:lnTo>
                  <a:lnTo>
                    <a:pt x="37" y="87"/>
                  </a:lnTo>
                  <a:lnTo>
                    <a:pt x="110" y="14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282828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13895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6C4C8E-DEAE-470E-955B-64682D640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17840A2-2D0E-4A7B-9EF2-AD755BAF61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EE1D4AC3-CC6C-4735-87A0-B6E10E7CED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690038" y="0"/>
            <a:ext cx="15124925" cy="70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9205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DD80020-2CE3-4F8E-A956-485C9E2C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921" y="2587700"/>
            <a:ext cx="7626965" cy="3605405"/>
          </a:xfrm>
        </p:spPr>
        <p:txBody>
          <a:bodyPr/>
          <a:lstStyle/>
          <a:p>
            <a:pPr lvl="0"/>
            <a:r>
              <a:rPr lang="en-US" noProof="0" dirty="0">
                <a:sym typeface="Segoe UI"/>
              </a:rPr>
              <a:t>Questions?</a:t>
            </a:r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4A7F3048-5D30-48D8-9671-60A92A2F554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9239" y="827582"/>
            <a:ext cx="3041898" cy="2943772"/>
            <a:chOff x="5515" y="3724"/>
            <a:chExt cx="403" cy="390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46B54411-5EB5-4622-A360-3BDE17E4DAD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515" y="3724"/>
              <a:ext cx="390" cy="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6EB9D9EB-9CF4-4B50-9D54-CE99FF06D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2" y="3904"/>
              <a:ext cx="101" cy="101"/>
            </a:xfrm>
            <a:custGeom>
              <a:avLst/>
              <a:gdLst>
                <a:gd name="T0" fmla="*/ 53 w 107"/>
                <a:gd name="T1" fmla="*/ 107 h 107"/>
                <a:gd name="T2" fmla="*/ 53 w 107"/>
                <a:gd name="T3" fmla="*/ 107 h 107"/>
                <a:gd name="T4" fmla="*/ 107 w 107"/>
                <a:gd name="T5" fmla="*/ 53 h 107"/>
                <a:gd name="T6" fmla="*/ 75 w 107"/>
                <a:gd name="T7" fmla="*/ 5 h 107"/>
                <a:gd name="T8" fmla="*/ 53 w 107"/>
                <a:gd name="T9" fmla="*/ 0 h 107"/>
                <a:gd name="T10" fmla="*/ 31 w 107"/>
                <a:gd name="T11" fmla="*/ 5 h 107"/>
                <a:gd name="T12" fmla="*/ 0 w 107"/>
                <a:gd name="T13" fmla="*/ 53 h 107"/>
                <a:gd name="T14" fmla="*/ 53 w 107"/>
                <a:gd name="T15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" h="107">
                  <a:moveTo>
                    <a:pt x="53" y="107"/>
                  </a:moveTo>
                  <a:lnTo>
                    <a:pt x="53" y="107"/>
                  </a:lnTo>
                  <a:cubicBezTo>
                    <a:pt x="83" y="107"/>
                    <a:pt x="107" y="83"/>
                    <a:pt x="107" y="53"/>
                  </a:cubicBezTo>
                  <a:cubicBezTo>
                    <a:pt x="107" y="32"/>
                    <a:pt x="94" y="13"/>
                    <a:pt x="75" y="5"/>
                  </a:cubicBezTo>
                  <a:cubicBezTo>
                    <a:pt x="69" y="2"/>
                    <a:pt x="61" y="0"/>
                    <a:pt x="53" y="0"/>
                  </a:cubicBezTo>
                  <a:cubicBezTo>
                    <a:pt x="45" y="0"/>
                    <a:pt x="38" y="2"/>
                    <a:pt x="31" y="5"/>
                  </a:cubicBezTo>
                  <a:cubicBezTo>
                    <a:pt x="13" y="13"/>
                    <a:pt x="0" y="32"/>
                    <a:pt x="0" y="53"/>
                  </a:cubicBezTo>
                  <a:cubicBezTo>
                    <a:pt x="0" y="83"/>
                    <a:pt x="24" y="107"/>
                    <a:pt x="53" y="107"/>
                  </a:cubicBezTo>
                  <a:close/>
                </a:path>
              </a:pathLst>
            </a:custGeom>
            <a:solidFill>
              <a:srgbClr val="00B0F0"/>
            </a:solidFill>
            <a:ln w="0">
              <a:solidFill>
                <a:srgbClr val="00B0F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2A59770E-BB16-4599-9422-A040524EFD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6" y="4016"/>
              <a:ext cx="152" cy="76"/>
            </a:xfrm>
            <a:custGeom>
              <a:avLst/>
              <a:gdLst>
                <a:gd name="T0" fmla="*/ 80 w 160"/>
                <a:gd name="T1" fmla="*/ 0 h 80"/>
                <a:gd name="T2" fmla="*/ 80 w 160"/>
                <a:gd name="T3" fmla="*/ 0 h 80"/>
                <a:gd name="T4" fmla="*/ 0 w 160"/>
                <a:gd name="T5" fmla="*/ 80 h 80"/>
                <a:gd name="T6" fmla="*/ 160 w 160"/>
                <a:gd name="T7" fmla="*/ 80 h 80"/>
                <a:gd name="T8" fmla="*/ 80 w 160"/>
                <a:gd name="T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80">
                  <a:moveTo>
                    <a:pt x="80" y="0"/>
                  </a:moveTo>
                  <a:lnTo>
                    <a:pt x="80" y="0"/>
                  </a:lnTo>
                  <a:cubicBezTo>
                    <a:pt x="36" y="0"/>
                    <a:pt x="0" y="36"/>
                    <a:pt x="0" y="80"/>
                  </a:cubicBezTo>
                  <a:lnTo>
                    <a:pt x="160" y="80"/>
                  </a:lnTo>
                  <a:cubicBezTo>
                    <a:pt x="160" y="36"/>
                    <a:pt x="124" y="0"/>
                    <a:pt x="80" y="0"/>
                  </a:cubicBezTo>
                  <a:close/>
                </a:path>
              </a:pathLst>
            </a:custGeom>
            <a:solidFill>
              <a:srgbClr val="00B0F0"/>
            </a:solidFill>
            <a:ln w="0">
              <a:solidFill>
                <a:srgbClr val="00B0F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557B6DF9-D47A-4C72-ABF6-62E003703D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5" y="4042"/>
              <a:ext cx="70" cy="51"/>
            </a:xfrm>
            <a:custGeom>
              <a:avLst/>
              <a:gdLst>
                <a:gd name="T0" fmla="*/ 0 w 74"/>
                <a:gd name="T1" fmla="*/ 54 h 54"/>
                <a:gd name="T2" fmla="*/ 0 w 74"/>
                <a:gd name="T3" fmla="*/ 54 h 54"/>
                <a:gd name="T4" fmla="*/ 62 w 74"/>
                <a:gd name="T5" fmla="*/ 54 h 54"/>
                <a:gd name="T6" fmla="*/ 62 w 74"/>
                <a:gd name="T7" fmla="*/ 54 h 54"/>
                <a:gd name="T8" fmla="*/ 74 w 74"/>
                <a:gd name="T9" fmla="*/ 5 h 54"/>
                <a:gd name="T10" fmla="*/ 53 w 74"/>
                <a:gd name="T11" fmla="*/ 0 h 54"/>
                <a:gd name="T12" fmla="*/ 0 w 74"/>
                <a:gd name="T1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54">
                  <a:moveTo>
                    <a:pt x="0" y="54"/>
                  </a:moveTo>
                  <a:lnTo>
                    <a:pt x="0" y="54"/>
                  </a:lnTo>
                  <a:lnTo>
                    <a:pt x="62" y="54"/>
                  </a:lnTo>
                  <a:lnTo>
                    <a:pt x="62" y="54"/>
                  </a:lnTo>
                  <a:cubicBezTo>
                    <a:pt x="62" y="36"/>
                    <a:pt x="67" y="20"/>
                    <a:pt x="74" y="5"/>
                  </a:cubicBezTo>
                  <a:cubicBezTo>
                    <a:pt x="68" y="2"/>
                    <a:pt x="60" y="0"/>
                    <a:pt x="53" y="0"/>
                  </a:cubicBezTo>
                  <a:cubicBezTo>
                    <a:pt x="23" y="0"/>
                    <a:pt x="0" y="24"/>
                    <a:pt x="0" y="54"/>
                  </a:cubicBezTo>
                  <a:close/>
                </a:path>
              </a:pathLst>
            </a:custGeom>
            <a:solidFill>
              <a:srgbClr val="00B0F0"/>
            </a:solidFill>
            <a:ln w="0">
              <a:solidFill>
                <a:srgbClr val="00B0F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06A9A86E-BAC2-42CD-BAD6-49F5C0E33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7" y="3955"/>
              <a:ext cx="76" cy="75"/>
            </a:xfrm>
            <a:custGeom>
              <a:avLst/>
              <a:gdLst>
                <a:gd name="T0" fmla="*/ 40 w 80"/>
                <a:gd name="T1" fmla="*/ 0 h 80"/>
                <a:gd name="T2" fmla="*/ 40 w 80"/>
                <a:gd name="T3" fmla="*/ 0 h 80"/>
                <a:gd name="T4" fmla="*/ 0 w 80"/>
                <a:gd name="T5" fmla="*/ 40 h 80"/>
                <a:gd name="T6" fmla="*/ 14 w 80"/>
                <a:gd name="T7" fmla="*/ 70 h 80"/>
                <a:gd name="T8" fmla="*/ 38 w 80"/>
                <a:gd name="T9" fmla="*/ 79 h 80"/>
                <a:gd name="T10" fmla="*/ 40 w 80"/>
                <a:gd name="T11" fmla="*/ 80 h 80"/>
                <a:gd name="T12" fmla="*/ 42 w 80"/>
                <a:gd name="T13" fmla="*/ 79 h 80"/>
                <a:gd name="T14" fmla="*/ 65 w 80"/>
                <a:gd name="T15" fmla="*/ 70 h 80"/>
                <a:gd name="T16" fmla="*/ 80 w 80"/>
                <a:gd name="T17" fmla="*/ 40 h 80"/>
                <a:gd name="T18" fmla="*/ 40 w 80"/>
                <a:gd name="T1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80">
                  <a:moveTo>
                    <a:pt x="40" y="0"/>
                  </a:moveTo>
                  <a:lnTo>
                    <a:pt x="40" y="0"/>
                  </a:lnTo>
                  <a:cubicBezTo>
                    <a:pt x="18" y="0"/>
                    <a:pt x="0" y="17"/>
                    <a:pt x="0" y="40"/>
                  </a:cubicBezTo>
                  <a:cubicBezTo>
                    <a:pt x="0" y="52"/>
                    <a:pt x="5" y="63"/>
                    <a:pt x="14" y="70"/>
                  </a:cubicBezTo>
                  <a:cubicBezTo>
                    <a:pt x="21" y="75"/>
                    <a:pt x="29" y="79"/>
                    <a:pt x="38" y="79"/>
                  </a:cubicBezTo>
                  <a:cubicBezTo>
                    <a:pt x="38" y="79"/>
                    <a:pt x="39" y="80"/>
                    <a:pt x="40" y="80"/>
                  </a:cubicBezTo>
                  <a:cubicBezTo>
                    <a:pt x="41" y="80"/>
                    <a:pt x="41" y="79"/>
                    <a:pt x="42" y="79"/>
                  </a:cubicBezTo>
                  <a:cubicBezTo>
                    <a:pt x="51" y="79"/>
                    <a:pt x="59" y="75"/>
                    <a:pt x="65" y="70"/>
                  </a:cubicBezTo>
                  <a:cubicBezTo>
                    <a:pt x="74" y="63"/>
                    <a:pt x="80" y="52"/>
                    <a:pt x="80" y="40"/>
                  </a:cubicBezTo>
                  <a:cubicBezTo>
                    <a:pt x="80" y="17"/>
                    <a:pt x="62" y="0"/>
                    <a:pt x="40" y="0"/>
                  </a:cubicBezTo>
                  <a:close/>
                </a:path>
              </a:pathLst>
            </a:custGeom>
            <a:solidFill>
              <a:srgbClr val="00B0F0"/>
            </a:solidFill>
            <a:ln w="0">
              <a:solidFill>
                <a:srgbClr val="00B0F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5EF2287-DA6E-493D-BC3E-18E2A9D270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2" y="3793"/>
              <a:ext cx="139" cy="127"/>
            </a:xfrm>
            <a:custGeom>
              <a:avLst/>
              <a:gdLst>
                <a:gd name="T0" fmla="*/ 0 w 147"/>
                <a:gd name="T1" fmla="*/ 0 h 134"/>
                <a:gd name="T2" fmla="*/ 0 w 147"/>
                <a:gd name="T3" fmla="*/ 0 h 134"/>
                <a:gd name="T4" fmla="*/ 147 w 147"/>
                <a:gd name="T5" fmla="*/ 0 h 134"/>
                <a:gd name="T6" fmla="*/ 147 w 147"/>
                <a:gd name="T7" fmla="*/ 100 h 134"/>
                <a:gd name="T8" fmla="*/ 53 w 147"/>
                <a:gd name="T9" fmla="*/ 100 h 134"/>
                <a:gd name="T10" fmla="*/ 19 w 147"/>
                <a:gd name="T11" fmla="*/ 134 h 134"/>
                <a:gd name="T12" fmla="*/ 19 w 147"/>
                <a:gd name="T13" fmla="*/ 100 h 134"/>
                <a:gd name="T14" fmla="*/ 0 w 147"/>
                <a:gd name="T15" fmla="*/ 100 h 134"/>
                <a:gd name="T16" fmla="*/ 0 w 147"/>
                <a:gd name="T17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134">
                  <a:moveTo>
                    <a:pt x="0" y="0"/>
                  </a:moveTo>
                  <a:lnTo>
                    <a:pt x="0" y="0"/>
                  </a:lnTo>
                  <a:lnTo>
                    <a:pt x="147" y="0"/>
                  </a:lnTo>
                  <a:lnTo>
                    <a:pt x="147" y="100"/>
                  </a:lnTo>
                  <a:lnTo>
                    <a:pt x="53" y="100"/>
                  </a:lnTo>
                  <a:lnTo>
                    <a:pt x="19" y="134"/>
                  </a:lnTo>
                  <a:lnTo>
                    <a:pt x="19" y="100"/>
                  </a:lnTo>
                  <a:lnTo>
                    <a:pt x="0" y="1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1C1C1"/>
            </a:solidFill>
            <a:ln w="0">
              <a:solidFill>
                <a:srgbClr val="C1C1C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DB4E1D94-AD1C-45BB-97C6-3DCF2C5599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6" y="3750"/>
              <a:ext cx="202" cy="185"/>
            </a:xfrm>
            <a:custGeom>
              <a:avLst/>
              <a:gdLst>
                <a:gd name="T0" fmla="*/ 0 w 213"/>
                <a:gd name="T1" fmla="*/ 0 h 196"/>
                <a:gd name="T2" fmla="*/ 0 w 213"/>
                <a:gd name="T3" fmla="*/ 0 h 196"/>
                <a:gd name="T4" fmla="*/ 213 w 213"/>
                <a:gd name="T5" fmla="*/ 0 h 196"/>
                <a:gd name="T6" fmla="*/ 213 w 213"/>
                <a:gd name="T7" fmla="*/ 146 h 196"/>
                <a:gd name="T8" fmla="*/ 76 w 213"/>
                <a:gd name="T9" fmla="*/ 146 h 196"/>
                <a:gd name="T10" fmla="*/ 26 w 213"/>
                <a:gd name="T11" fmla="*/ 196 h 196"/>
                <a:gd name="T12" fmla="*/ 26 w 213"/>
                <a:gd name="T13" fmla="*/ 146 h 196"/>
                <a:gd name="T14" fmla="*/ 0 w 213"/>
                <a:gd name="T15" fmla="*/ 146 h 196"/>
                <a:gd name="T16" fmla="*/ 0 w 213"/>
                <a:gd name="T17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3" h="196">
                  <a:moveTo>
                    <a:pt x="0" y="0"/>
                  </a:moveTo>
                  <a:lnTo>
                    <a:pt x="0" y="0"/>
                  </a:lnTo>
                  <a:lnTo>
                    <a:pt x="213" y="0"/>
                  </a:lnTo>
                  <a:lnTo>
                    <a:pt x="213" y="146"/>
                  </a:lnTo>
                  <a:lnTo>
                    <a:pt x="76" y="146"/>
                  </a:lnTo>
                  <a:lnTo>
                    <a:pt x="26" y="196"/>
                  </a:lnTo>
                  <a:lnTo>
                    <a:pt x="26" y="146"/>
                  </a:lnTo>
                  <a:lnTo>
                    <a:pt x="0" y="1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/>
            </a:solidFill>
            <a:ln w="0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17007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17197A02-14CC-4C98-81E8-5EA3790C81C5}"/>
              </a:ext>
            </a:extLst>
          </p:cNvPr>
          <p:cNvSpPr txBox="1">
            <a:spLocks/>
          </p:cNvSpPr>
          <p:nvPr/>
        </p:nvSpPr>
        <p:spPr>
          <a:xfrm>
            <a:off x="6872353" y="2724150"/>
            <a:ext cx="5666571" cy="773112"/>
          </a:xfrm>
          <a:prstGeom prst="rect">
            <a:avLst/>
          </a:prstGeom>
        </p:spPr>
        <p:txBody>
          <a:bodyPr vert="horz" wrap="square" lIns="0" tIns="167869" rIns="0" bIns="0" rtlCol="0" anchor="t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37" b="0" kern="1200" cap="none" spc="-147" baseline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563"/>
            <a:r>
              <a:rPr lang="nl-NL" sz="3672" spc="-51" dirty="0" err="1">
                <a:latin typeface="Segoe UI Semibold" panose="020B0702040204020203" pitchFamily="34" charset="0"/>
              </a:rPr>
              <a:t>Let’s</a:t>
            </a:r>
            <a:r>
              <a:rPr lang="nl-NL" sz="3672" spc="-51" dirty="0">
                <a:latin typeface="Segoe UI Semibold" panose="020B0702040204020203" pitchFamily="34" charset="0"/>
              </a:rPr>
              <a:t> take a </a:t>
            </a:r>
            <a:r>
              <a:rPr lang="nl-NL" sz="3672" spc="-51" dirty="0" err="1">
                <a:latin typeface="Segoe UI Semibold" panose="020B0702040204020203" pitchFamily="34" charset="0"/>
              </a:rPr>
              <a:t>little</a:t>
            </a:r>
            <a:r>
              <a:rPr lang="nl-NL" sz="3672" spc="-51" dirty="0">
                <a:latin typeface="Segoe UI Semibold" panose="020B0702040204020203" pitchFamily="34" charset="0"/>
              </a:rPr>
              <a:t> </a:t>
            </a:r>
            <a:r>
              <a:rPr lang="nl-NL" sz="3672" spc="-51" dirty="0" err="1">
                <a:latin typeface="Segoe UI Semibold" panose="020B0702040204020203" pitchFamily="34" charset="0"/>
              </a:rPr>
              <a:t>journey</a:t>
            </a:r>
            <a:endParaRPr lang="nl-NL" sz="3672" spc="-51" dirty="0">
              <a:latin typeface="Segoe UI Semibold" panose="020B0702040204020203" pitchFamily="34" charset="0"/>
            </a:endParaRPr>
          </a:p>
          <a:p>
            <a:pPr defTabSz="932563"/>
            <a:r>
              <a:rPr lang="nl-NL" sz="2856" spc="-51" dirty="0" err="1">
                <a:solidFill>
                  <a:srgbClr val="0078D4"/>
                </a:solidFill>
                <a:latin typeface="Segoe UI Semibold" panose="020B0702040204020203" pitchFamily="34" charset="0"/>
              </a:rPr>
              <a:t>From</a:t>
            </a:r>
            <a:r>
              <a:rPr lang="nl-NL" sz="2856" spc="-51" dirty="0">
                <a:solidFill>
                  <a:srgbClr val="0078D4"/>
                </a:solidFill>
                <a:latin typeface="Segoe UI Semibold" panose="020B0702040204020203" pitchFamily="34" charset="0"/>
              </a:rPr>
              <a:t> AIP to MIP and UL</a:t>
            </a:r>
          </a:p>
        </p:txBody>
      </p:sp>
      <p:pic>
        <p:nvPicPr>
          <p:cNvPr id="13" name="Afbeelding 12" descr="Plattelandsweg langs de rand van de bergen">
            <a:extLst>
              <a:ext uri="{FF2B5EF4-FFF2-40B4-BE49-F238E27FC236}">
                <a16:creationId xmlns:a16="http://schemas.microsoft.com/office/drawing/2014/main" id="{76B8CA23-E56A-44B7-B067-0BC33988D10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7754"/>
          <a:stretch/>
        </p:blipFill>
        <p:spPr>
          <a:xfrm>
            <a:off x="-276448" y="0"/>
            <a:ext cx="653235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3360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872B6F35-72C5-416F-8051-59844064F111}"/>
              </a:ext>
            </a:extLst>
          </p:cNvPr>
          <p:cNvSpPr/>
          <p:nvPr/>
        </p:nvSpPr>
        <p:spPr bwMode="auto">
          <a:xfrm>
            <a:off x="6567517" y="-156496"/>
            <a:ext cx="5903545" cy="730751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3639EEED-8837-4BF8-81F8-622E98E4C945}"/>
              </a:ext>
            </a:extLst>
          </p:cNvPr>
          <p:cNvSpPr txBox="1">
            <a:spLocks/>
          </p:cNvSpPr>
          <p:nvPr/>
        </p:nvSpPr>
        <p:spPr>
          <a:xfrm>
            <a:off x="427004" y="447675"/>
            <a:ext cx="11888047" cy="9175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91427" rIns="0" bIns="91427" rtlCol="0" anchor="ctr" anchorCtr="0" compatLnSpc="1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r>
              <a:rPr lang="nl-NL" sz="3672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Let’s</a:t>
            </a:r>
            <a:r>
              <a:rPr lang="nl-NL" sz="3672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 take</a:t>
            </a:r>
            <a:r>
              <a:rPr lang="nl-NL" sz="3672" b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 a </a:t>
            </a:r>
            <a:r>
              <a:rPr lang="nl-NL" sz="3672" b="1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little</a:t>
            </a:r>
            <a:r>
              <a:rPr lang="nl-NL" sz="3672" b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 </a:t>
            </a:r>
            <a:r>
              <a:rPr lang="nl-NL" sz="3672" b="1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journey</a:t>
            </a:r>
            <a:r>
              <a:rPr lang="nl-NL" sz="3672" b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….</a:t>
            </a:r>
            <a:endParaRPr lang="nl-NL" sz="3672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 Light"/>
              <a:ea typeface="Segoe UI Black" pitchFamily="34"/>
            </a:endParaRPr>
          </a:p>
        </p:txBody>
      </p:sp>
      <p:pic>
        <p:nvPicPr>
          <p:cNvPr id="167" name="Tijdelijke aanduiding voor inhoud 4" descr="Afbeelding met schermafbeelding, apparaat&#10;&#10;Automatisch gegenereerde beschrijving">
            <a:extLst>
              <a:ext uri="{FF2B5EF4-FFF2-40B4-BE49-F238E27FC236}">
                <a16:creationId xmlns:a16="http://schemas.microsoft.com/office/drawing/2014/main" id="{8C8778E6-D19E-45F3-BA53-7D6A3BF5CA0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427003" y="2056698"/>
            <a:ext cx="5144871" cy="2881128"/>
          </a:xfrm>
        </p:spPr>
      </p:pic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DAE7C62E-0B6C-4073-B3AF-E71B675FA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algn="r" defTabSz="930918" rtl="0" eaLnBrk="1" latinLnBrk="0" hangingPunct="1">
              <a:defRPr lang="x-none" sz="815" kern="1200" smtClean="0">
                <a:solidFill>
                  <a:schemeClr val="bg1"/>
                </a:solidFill>
                <a:latin typeface="Segoe UI Semibold" panose="020B0702040204020203" pitchFamily="34" charset="0"/>
                <a:ea typeface="Arial" panose="020B0604020202020204" pitchFamily="34" charset="0"/>
                <a:cs typeface="Segoe UI Semibold" panose="020B0702040204020203" pitchFamily="34" charset="0"/>
              </a:defRPr>
            </a:lvl1pPr>
          </a:lstStyle>
          <a:p>
            <a:fld id="{5257B4DB-FF93-49F5-8B48-85D85AAA1E51}" type="slidenum">
              <a:rPr lang="x-none" smtClean="0"/>
              <a:pPr/>
              <a:t>4</a:t>
            </a:fld>
            <a:endParaRPr lang="x-none"/>
          </a:p>
        </p:txBody>
      </p:sp>
      <p:sp>
        <p:nvSpPr>
          <p:cNvPr id="171" name="Rechthoek 170">
            <a:extLst>
              <a:ext uri="{FF2B5EF4-FFF2-40B4-BE49-F238E27FC236}">
                <a16:creationId xmlns:a16="http://schemas.microsoft.com/office/drawing/2014/main" id="{E649FF0A-89FE-4838-9E6E-4E8EEF3832D0}"/>
              </a:ext>
            </a:extLst>
          </p:cNvPr>
          <p:cNvSpPr/>
          <p:nvPr/>
        </p:nvSpPr>
        <p:spPr>
          <a:xfrm>
            <a:off x="6997641" y="1419770"/>
            <a:ext cx="5043296" cy="415498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R="0" lvl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Information Protection </a:t>
            </a:r>
          </a:p>
          <a:p>
            <a:pPr marR="0" lvl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lassification &amp; Detection</a:t>
            </a: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dd-in client for Office</a:t>
            </a: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lient for Windows Explorer</a:t>
            </a:r>
          </a:p>
          <a:p>
            <a:pPr marL="285750" indent="-285750" defTabSz="932597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ewer client (also mobile)</a:t>
            </a: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Version: 1.x (c</a:t>
            </a:r>
            <a:r>
              <a:rPr lang="en-US" sz="2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ssic</a:t>
            </a: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32597">
              <a:defRPr/>
            </a:pPr>
            <a:endParaRPr lang="en-US" sz="24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32597">
              <a:defRPr/>
            </a:pPr>
            <a:r>
              <a:rPr lang="en-US" sz="24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precated March 31st 2021</a:t>
            </a:r>
            <a:endParaRPr lang="en-US" sz="2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defTabSz="932597"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Ovaal 7">
            <a:extLst>
              <a:ext uri="{FF2B5EF4-FFF2-40B4-BE49-F238E27FC236}">
                <a16:creationId xmlns:a16="http://schemas.microsoft.com/office/drawing/2014/main" id="{2ED314DB-347B-45C3-BB29-320DDBC38E30}"/>
              </a:ext>
            </a:extLst>
          </p:cNvPr>
          <p:cNvSpPr/>
          <p:nvPr/>
        </p:nvSpPr>
        <p:spPr>
          <a:xfrm>
            <a:off x="447596" y="5629274"/>
            <a:ext cx="571500" cy="5207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909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872B6F35-72C5-416F-8051-59844064F111}"/>
              </a:ext>
            </a:extLst>
          </p:cNvPr>
          <p:cNvSpPr/>
          <p:nvPr/>
        </p:nvSpPr>
        <p:spPr bwMode="auto">
          <a:xfrm>
            <a:off x="6567517" y="-156496"/>
            <a:ext cx="5903545" cy="730751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3639EEED-8837-4BF8-81F8-622E98E4C945}"/>
              </a:ext>
            </a:extLst>
          </p:cNvPr>
          <p:cNvSpPr txBox="1">
            <a:spLocks/>
          </p:cNvSpPr>
          <p:nvPr/>
        </p:nvSpPr>
        <p:spPr>
          <a:xfrm>
            <a:off x="427004" y="447675"/>
            <a:ext cx="11888047" cy="9175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91427" rIns="0" bIns="91427" rtlCol="0" anchor="ctr" anchorCtr="0" compatLnSpc="1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r>
              <a:rPr lang="nl-NL" sz="3672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Let’s</a:t>
            </a:r>
            <a:r>
              <a:rPr lang="nl-NL" sz="3672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 take</a:t>
            </a:r>
            <a:r>
              <a:rPr lang="nl-NL" sz="3672" b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 a </a:t>
            </a:r>
            <a:r>
              <a:rPr lang="nl-NL" sz="3672" b="1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little</a:t>
            </a:r>
            <a:r>
              <a:rPr lang="nl-NL" sz="3672" b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 </a:t>
            </a:r>
            <a:r>
              <a:rPr lang="nl-NL" sz="3672" b="1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journey</a:t>
            </a:r>
            <a:r>
              <a:rPr lang="nl-NL" sz="3672" b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….</a:t>
            </a:r>
            <a:endParaRPr lang="nl-NL" sz="3672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 Light"/>
              <a:ea typeface="Segoe UI Black" pitchFamily="34"/>
            </a:endParaRP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DAE7C62E-0B6C-4073-B3AF-E71B675FA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algn="r" defTabSz="930918" rtl="0" eaLnBrk="1" latinLnBrk="0" hangingPunct="1">
              <a:defRPr lang="x-none" sz="815" kern="1200" smtClean="0">
                <a:solidFill>
                  <a:schemeClr val="bg1"/>
                </a:solidFill>
                <a:latin typeface="Segoe UI Semibold" panose="020B0702040204020203" pitchFamily="34" charset="0"/>
                <a:ea typeface="Arial" panose="020B0604020202020204" pitchFamily="34" charset="0"/>
                <a:cs typeface="Segoe UI Semibold" panose="020B0702040204020203" pitchFamily="34" charset="0"/>
              </a:defRPr>
            </a:lvl1pPr>
          </a:lstStyle>
          <a:p>
            <a:fld id="{5257B4DB-FF93-49F5-8B48-85D85AAA1E51}" type="slidenum">
              <a:rPr lang="x-none" smtClean="0"/>
              <a:pPr/>
              <a:t>5</a:t>
            </a:fld>
            <a:endParaRPr lang="x-none"/>
          </a:p>
        </p:txBody>
      </p:sp>
      <p:sp>
        <p:nvSpPr>
          <p:cNvPr id="171" name="Rechthoek 170">
            <a:extLst>
              <a:ext uri="{FF2B5EF4-FFF2-40B4-BE49-F238E27FC236}">
                <a16:creationId xmlns:a16="http://schemas.microsoft.com/office/drawing/2014/main" id="{E649FF0A-89FE-4838-9E6E-4E8EEF3832D0}"/>
              </a:ext>
            </a:extLst>
          </p:cNvPr>
          <p:cNvSpPr/>
          <p:nvPr/>
        </p:nvSpPr>
        <p:spPr>
          <a:xfrm>
            <a:off x="6997641" y="1419770"/>
            <a:ext cx="5043296" cy="267765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R="0" lvl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Information Protection </a:t>
            </a:r>
          </a:p>
          <a:p>
            <a:pPr marR="0" lvl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re content sources</a:t>
            </a: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n-premises scanner</a:t>
            </a: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loud App Security integration</a:t>
            </a: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obe integration</a:t>
            </a:r>
          </a:p>
          <a:p>
            <a:pPr marL="285750" indent="-285750" defTabSz="932597"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Ovaal 8">
            <a:extLst>
              <a:ext uri="{FF2B5EF4-FFF2-40B4-BE49-F238E27FC236}">
                <a16:creationId xmlns:a16="http://schemas.microsoft.com/office/drawing/2014/main" id="{0A1E092E-1525-4EC7-9473-03924D9F4E04}"/>
              </a:ext>
            </a:extLst>
          </p:cNvPr>
          <p:cNvSpPr/>
          <p:nvPr/>
        </p:nvSpPr>
        <p:spPr>
          <a:xfrm>
            <a:off x="1513262" y="5638109"/>
            <a:ext cx="571500" cy="5207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2</a:t>
            </a:r>
            <a:endParaRPr lang="en-US" dirty="0"/>
          </a:p>
        </p:txBody>
      </p:sp>
      <p:cxnSp>
        <p:nvCxnSpPr>
          <p:cNvPr id="10" name="Rechte verbindingslijn met pijl 9">
            <a:extLst>
              <a:ext uri="{FF2B5EF4-FFF2-40B4-BE49-F238E27FC236}">
                <a16:creationId xmlns:a16="http://schemas.microsoft.com/office/drawing/2014/main" id="{7CBF1B2B-4A95-4F22-ACFF-4AEA99DDF1F4}"/>
              </a:ext>
            </a:extLst>
          </p:cNvPr>
          <p:cNvCxnSpPr>
            <a:cxnSpLocks/>
            <a:endCxn id="9" idx="2"/>
          </p:cNvCxnSpPr>
          <p:nvPr/>
        </p:nvCxnSpPr>
        <p:spPr>
          <a:xfrm>
            <a:off x="1010278" y="5898459"/>
            <a:ext cx="502984" cy="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14" name="Afbeelding 13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6C2F41A1-5B52-44AE-9840-C7D61DCFE7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501364" y="1987546"/>
            <a:ext cx="5366008" cy="301943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1" name="Ovaal 10">
            <a:extLst>
              <a:ext uri="{FF2B5EF4-FFF2-40B4-BE49-F238E27FC236}">
                <a16:creationId xmlns:a16="http://schemas.microsoft.com/office/drawing/2014/main" id="{2ED314DB-347B-45C3-BB29-320DDBC38E30}"/>
              </a:ext>
            </a:extLst>
          </p:cNvPr>
          <p:cNvSpPr/>
          <p:nvPr/>
        </p:nvSpPr>
        <p:spPr>
          <a:xfrm>
            <a:off x="447596" y="5629274"/>
            <a:ext cx="571500" cy="5207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25401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872B6F35-72C5-416F-8051-59844064F111}"/>
              </a:ext>
            </a:extLst>
          </p:cNvPr>
          <p:cNvSpPr/>
          <p:nvPr/>
        </p:nvSpPr>
        <p:spPr bwMode="auto">
          <a:xfrm>
            <a:off x="6567517" y="-156496"/>
            <a:ext cx="5903545" cy="730751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3639EEED-8837-4BF8-81F8-622E98E4C945}"/>
              </a:ext>
            </a:extLst>
          </p:cNvPr>
          <p:cNvSpPr txBox="1">
            <a:spLocks/>
          </p:cNvSpPr>
          <p:nvPr/>
        </p:nvSpPr>
        <p:spPr>
          <a:xfrm>
            <a:off x="427004" y="447675"/>
            <a:ext cx="11888047" cy="9175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91427" rIns="0" bIns="91427" rtlCol="0" anchor="ctr" anchorCtr="0" compatLnSpc="1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r>
              <a:rPr lang="nl-NL" sz="3672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Let’s</a:t>
            </a:r>
            <a:r>
              <a:rPr lang="nl-NL" sz="3672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 take</a:t>
            </a:r>
            <a:r>
              <a:rPr lang="nl-NL" sz="3672" b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 a </a:t>
            </a:r>
            <a:r>
              <a:rPr lang="nl-NL" sz="3672" b="1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little</a:t>
            </a:r>
            <a:r>
              <a:rPr lang="nl-NL" sz="3672" b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 </a:t>
            </a:r>
            <a:r>
              <a:rPr lang="nl-NL" sz="3672" b="1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journey</a:t>
            </a:r>
            <a:r>
              <a:rPr lang="nl-NL" sz="3672" b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….</a:t>
            </a:r>
            <a:endParaRPr lang="nl-NL" sz="3672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 Light"/>
              <a:ea typeface="Segoe UI Black" pitchFamily="34"/>
            </a:endParaRPr>
          </a:p>
        </p:txBody>
      </p:sp>
      <p:sp>
        <p:nvSpPr>
          <p:cNvPr id="171" name="Rechthoek 170">
            <a:extLst>
              <a:ext uri="{FF2B5EF4-FFF2-40B4-BE49-F238E27FC236}">
                <a16:creationId xmlns:a16="http://schemas.microsoft.com/office/drawing/2014/main" id="{E649FF0A-89FE-4838-9E6E-4E8EEF3832D0}"/>
              </a:ext>
            </a:extLst>
          </p:cNvPr>
          <p:cNvSpPr/>
          <p:nvPr/>
        </p:nvSpPr>
        <p:spPr>
          <a:xfrm>
            <a:off x="6997641" y="1419770"/>
            <a:ext cx="5486038" cy="489364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lvl="0" defTabSz="932597">
              <a:defRPr/>
            </a:pPr>
            <a:r>
              <a:rPr lang="en-US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nified Labeling</a:t>
            </a: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ne approach for sensitive information</a:t>
            </a: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ew clients: 2.x</a:t>
            </a: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ative client for Office Mac, iOS and Android</a:t>
            </a: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aged from S&amp;C center</a:t>
            </a: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indows Information Protection</a:t>
            </a: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wo types of labels in Microsoft 365!</a:t>
            </a:r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137C49A5-A9FB-4931-B5D9-00363A65A1AA}"/>
              </a:ext>
            </a:extLst>
          </p:cNvPr>
          <p:cNvSpPr/>
          <p:nvPr/>
        </p:nvSpPr>
        <p:spPr>
          <a:xfrm>
            <a:off x="2587746" y="5648987"/>
            <a:ext cx="571500" cy="5207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3</a:t>
            </a:r>
            <a:endParaRPr lang="en-US" dirty="0"/>
          </a:p>
        </p:txBody>
      </p:sp>
      <p:cxnSp>
        <p:nvCxnSpPr>
          <p:cNvPr id="12" name="Rechte verbindingslijn met pijl 11">
            <a:extLst>
              <a:ext uri="{FF2B5EF4-FFF2-40B4-BE49-F238E27FC236}">
                <a16:creationId xmlns:a16="http://schemas.microsoft.com/office/drawing/2014/main" id="{A07957EE-B0D2-40FB-9266-78033CBBA11A}"/>
              </a:ext>
            </a:extLst>
          </p:cNvPr>
          <p:cNvCxnSpPr>
            <a:cxnSpLocks/>
            <a:endCxn id="11" idx="2"/>
          </p:cNvCxnSpPr>
          <p:nvPr/>
        </p:nvCxnSpPr>
        <p:spPr>
          <a:xfrm>
            <a:off x="2084762" y="5909337"/>
            <a:ext cx="502984" cy="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4" name="Ovaal 13">
            <a:extLst>
              <a:ext uri="{FF2B5EF4-FFF2-40B4-BE49-F238E27FC236}">
                <a16:creationId xmlns:a16="http://schemas.microsoft.com/office/drawing/2014/main" id="{0A1E092E-1525-4EC7-9473-03924D9F4E04}"/>
              </a:ext>
            </a:extLst>
          </p:cNvPr>
          <p:cNvSpPr/>
          <p:nvPr/>
        </p:nvSpPr>
        <p:spPr>
          <a:xfrm>
            <a:off x="1513262" y="5638109"/>
            <a:ext cx="571500" cy="5207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2</a:t>
            </a:r>
            <a:endParaRPr lang="en-US" dirty="0"/>
          </a:p>
        </p:txBody>
      </p:sp>
      <p:cxnSp>
        <p:nvCxnSpPr>
          <p:cNvPr id="15" name="Rechte verbindingslijn met pijl 14">
            <a:extLst>
              <a:ext uri="{FF2B5EF4-FFF2-40B4-BE49-F238E27FC236}">
                <a16:creationId xmlns:a16="http://schemas.microsoft.com/office/drawing/2014/main" id="{7CBF1B2B-4A95-4F22-ACFF-4AEA99DDF1F4}"/>
              </a:ext>
            </a:extLst>
          </p:cNvPr>
          <p:cNvCxnSpPr>
            <a:cxnSpLocks/>
            <a:endCxn id="14" idx="2"/>
          </p:cNvCxnSpPr>
          <p:nvPr/>
        </p:nvCxnSpPr>
        <p:spPr>
          <a:xfrm>
            <a:off x="1010278" y="5898459"/>
            <a:ext cx="502984" cy="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6" name="Ovaal 15">
            <a:extLst>
              <a:ext uri="{FF2B5EF4-FFF2-40B4-BE49-F238E27FC236}">
                <a16:creationId xmlns:a16="http://schemas.microsoft.com/office/drawing/2014/main" id="{2ED314DB-347B-45C3-BB29-320DDBC38E30}"/>
              </a:ext>
            </a:extLst>
          </p:cNvPr>
          <p:cNvSpPr/>
          <p:nvPr/>
        </p:nvSpPr>
        <p:spPr>
          <a:xfrm>
            <a:off x="447596" y="5629274"/>
            <a:ext cx="571500" cy="5207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1</a:t>
            </a:r>
            <a:endParaRPr lang="en-US" dirty="0"/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005" y="2506576"/>
            <a:ext cx="5749169" cy="1981372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503965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872B6F35-72C5-416F-8051-59844064F111}"/>
              </a:ext>
            </a:extLst>
          </p:cNvPr>
          <p:cNvSpPr/>
          <p:nvPr/>
        </p:nvSpPr>
        <p:spPr bwMode="auto">
          <a:xfrm>
            <a:off x="6567517" y="-156496"/>
            <a:ext cx="5903545" cy="730751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3639EEED-8837-4BF8-81F8-622E98E4C945}"/>
              </a:ext>
            </a:extLst>
          </p:cNvPr>
          <p:cNvSpPr txBox="1">
            <a:spLocks/>
          </p:cNvSpPr>
          <p:nvPr/>
        </p:nvSpPr>
        <p:spPr>
          <a:xfrm>
            <a:off x="427004" y="447675"/>
            <a:ext cx="11888047" cy="9175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91427" rIns="0" bIns="91427" rtlCol="0" anchor="ctr" anchorCtr="0" compatLnSpc="1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r>
              <a:rPr lang="nl-NL" sz="3672" dirty="0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Let’s</a:t>
            </a:r>
            <a:r>
              <a:rPr lang="nl-NL" sz="3672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 take</a:t>
            </a:r>
            <a:r>
              <a:rPr lang="nl-NL" sz="3672" b="1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 a </a:t>
            </a:r>
            <a:r>
              <a:rPr lang="nl-NL" sz="3672" b="1" dirty="0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little</a:t>
            </a:r>
            <a:r>
              <a:rPr lang="nl-NL" sz="3672" b="1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 </a:t>
            </a:r>
            <a:r>
              <a:rPr lang="nl-NL" sz="3672" b="1" dirty="0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journey</a:t>
            </a:r>
            <a:r>
              <a:rPr lang="nl-NL" sz="3672" b="1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ea typeface="Segoe UI Black" pitchFamily="34"/>
              </a:rPr>
              <a:t>….</a:t>
            </a:r>
            <a:endParaRPr lang="nl-NL" sz="3672" dirty="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 Light"/>
              <a:ea typeface="Segoe UI Black" pitchFamily="34"/>
            </a:endParaRP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DAE7C62E-0B6C-4073-B3AF-E71B675FA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algn="r" defTabSz="930918" rtl="0" eaLnBrk="1" latinLnBrk="0" hangingPunct="1">
              <a:defRPr lang="x-none" sz="815" kern="1200" smtClean="0">
                <a:solidFill>
                  <a:schemeClr val="bg1"/>
                </a:solidFill>
                <a:latin typeface="Segoe UI Semibold" panose="020B0702040204020203" pitchFamily="34" charset="0"/>
                <a:ea typeface="Arial" panose="020B0604020202020204" pitchFamily="34" charset="0"/>
                <a:cs typeface="Segoe UI Semibold" panose="020B0702040204020203" pitchFamily="34" charset="0"/>
              </a:defRPr>
            </a:lvl1pPr>
          </a:lstStyle>
          <a:p>
            <a:fld id="{5257B4DB-FF93-49F5-8B48-85D85AAA1E51}" type="slidenum">
              <a:rPr lang="x-none" smtClean="0"/>
              <a:pPr/>
              <a:t>7</a:t>
            </a:fld>
            <a:endParaRPr lang="x-none"/>
          </a:p>
        </p:txBody>
      </p:sp>
      <p:sp>
        <p:nvSpPr>
          <p:cNvPr id="171" name="Rechthoek 170">
            <a:extLst>
              <a:ext uri="{FF2B5EF4-FFF2-40B4-BE49-F238E27FC236}">
                <a16:creationId xmlns:a16="http://schemas.microsoft.com/office/drawing/2014/main" id="{E649FF0A-89FE-4838-9E6E-4E8EEF3832D0}"/>
              </a:ext>
            </a:extLst>
          </p:cNvPr>
          <p:cNvSpPr/>
          <p:nvPr/>
        </p:nvSpPr>
        <p:spPr>
          <a:xfrm>
            <a:off x="6997641" y="1419770"/>
            <a:ext cx="5043296" cy="452431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lvl="0" defTabSz="932597">
              <a:defRPr/>
            </a:pPr>
            <a:r>
              <a:rPr lang="en-US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gnite previews for 2020</a:t>
            </a: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fice Online integration</a:t>
            </a: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fice Pro Plus integration</a:t>
            </a: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te classifications</a:t>
            </a: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-classification in SharePoint Online and OneDrive</a:t>
            </a: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 defTabSz="932597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fo panel in Office</a:t>
            </a:r>
          </a:p>
        </p:txBody>
      </p:sp>
      <p:sp>
        <p:nvSpPr>
          <p:cNvPr id="14" name="Ovaal 13">
            <a:extLst>
              <a:ext uri="{FF2B5EF4-FFF2-40B4-BE49-F238E27FC236}">
                <a16:creationId xmlns:a16="http://schemas.microsoft.com/office/drawing/2014/main" id="{2C91A9FC-C201-4457-88D4-C79FCA26074C}"/>
              </a:ext>
            </a:extLst>
          </p:cNvPr>
          <p:cNvSpPr/>
          <p:nvPr/>
        </p:nvSpPr>
        <p:spPr>
          <a:xfrm>
            <a:off x="3669232" y="5648987"/>
            <a:ext cx="571500" cy="5207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4</a:t>
            </a:r>
            <a:endParaRPr lang="en-US" dirty="0"/>
          </a:p>
        </p:txBody>
      </p:sp>
      <p:cxnSp>
        <p:nvCxnSpPr>
          <p:cNvPr id="15" name="Rechte verbindingslijn met pijl 14">
            <a:extLst>
              <a:ext uri="{FF2B5EF4-FFF2-40B4-BE49-F238E27FC236}">
                <a16:creationId xmlns:a16="http://schemas.microsoft.com/office/drawing/2014/main" id="{98170172-04BD-4D6F-9741-AC38EB8BAE87}"/>
              </a:ext>
            </a:extLst>
          </p:cNvPr>
          <p:cNvCxnSpPr>
            <a:cxnSpLocks/>
            <a:endCxn id="14" idx="2"/>
          </p:cNvCxnSpPr>
          <p:nvPr/>
        </p:nvCxnSpPr>
        <p:spPr>
          <a:xfrm>
            <a:off x="3166248" y="5909337"/>
            <a:ext cx="502984" cy="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BD2D9C88-6E62-4E6D-8A7C-A7057722606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7690"/>
          <a:stretch/>
        </p:blipFill>
        <p:spPr>
          <a:xfrm>
            <a:off x="612330" y="1992200"/>
            <a:ext cx="5358164" cy="301012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Ovaal 16">
            <a:extLst>
              <a:ext uri="{FF2B5EF4-FFF2-40B4-BE49-F238E27FC236}">
                <a16:creationId xmlns:a16="http://schemas.microsoft.com/office/drawing/2014/main" id="{137C49A5-A9FB-4931-B5D9-00363A65A1AA}"/>
              </a:ext>
            </a:extLst>
          </p:cNvPr>
          <p:cNvSpPr/>
          <p:nvPr/>
        </p:nvSpPr>
        <p:spPr>
          <a:xfrm>
            <a:off x="2587746" y="5648987"/>
            <a:ext cx="571500" cy="5207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3</a:t>
            </a:r>
            <a:endParaRPr lang="en-US" dirty="0"/>
          </a:p>
        </p:txBody>
      </p:sp>
      <p:cxnSp>
        <p:nvCxnSpPr>
          <p:cNvPr id="18" name="Rechte verbindingslijn met pijl 17">
            <a:extLst>
              <a:ext uri="{FF2B5EF4-FFF2-40B4-BE49-F238E27FC236}">
                <a16:creationId xmlns:a16="http://schemas.microsoft.com/office/drawing/2014/main" id="{A07957EE-B0D2-40FB-9266-78033CBBA11A}"/>
              </a:ext>
            </a:extLst>
          </p:cNvPr>
          <p:cNvCxnSpPr>
            <a:cxnSpLocks/>
            <a:endCxn id="17" idx="2"/>
          </p:cNvCxnSpPr>
          <p:nvPr/>
        </p:nvCxnSpPr>
        <p:spPr>
          <a:xfrm>
            <a:off x="2084762" y="5909337"/>
            <a:ext cx="502984" cy="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9" name="Ovaal 18">
            <a:extLst>
              <a:ext uri="{FF2B5EF4-FFF2-40B4-BE49-F238E27FC236}">
                <a16:creationId xmlns:a16="http://schemas.microsoft.com/office/drawing/2014/main" id="{0A1E092E-1525-4EC7-9473-03924D9F4E04}"/>
              </a:ext>
            </a:extLst>
          </p:cNvPr>
          <p:cNvSpPr/>
          <p:nvPr/>
        </p:nvSpPr>
        <p:spPr>
          <a:xfrm>
            <a:off x="1513262" y="5638109"/>
            <a:ext cx="571500" cy="5207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2</a:t>
            </a:r>
            <a:endParaRPr lang="en-US" dirty="0"/>
          </a:p>
        </p:txBody>
      </p:sp>
      <p:cxnSp>
        <p:nvCxnSpPr>
          <p:cNvPr id="20" name="Rechte verbindingslijn met pijl 19">
            <a:extLst>
              <a:ext uri="{FF2B5EF4-FFF2-40B4-BE49-F238E27FC236}">
                <a16:creationId xmlns:a16="http://schemas.microsoft.com/office/drawing/2014/main" id="{7CBF1B2B-4A95-4F22-ACFF-4AEA99DDF1F4}"/>
              </a:ext>
            </a:extLst>
          </p:cNvPr>
          <p:cNvCxnSpPr>
            <a:cxnSpLocks/>
            <a:endCxn id="19" idx="2"/>
          </p:cNvCxnSpPr>
          <p:nvPr/>
        </p:nvCxnSpPr>
        <p:spPr>
          <a:xfrm>
            <a:off x="1010278" y="5898459"/>
            <a:ext cx="502984" cy="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1" name="Ovaal 20">
            <a:extLst>
              <a:ext uri="{FF2B5EF4-FFF2-40B4-BE49-F238E27FC236}">
                <a16:creationId xmlns:a16="http://schemas.microsoft.com/office/drawing/2014/main" id="{2ED314DB-347B-45C3-BB29-320DDBC38E30}"/>
              </a:ext>
            </a:extLst>
          </p:cNvPr>
          <p:cNvSpPr/>
          <p:nvPr/>
        </p:nvSpPr>
        <p:spPr>
          <a:xfrm>
            <a:off x="447596" y="5629274"/>
            <a:ext cx="571500" cy="5207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165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17197A02-14CC-4C98-81E8-5EA3790C81C5}"/>
              </a:ext>
            </a:extLst>
          </p:cNvPr>
          <p:cNvSpPr txBox="1">
            <a:spLocks/>
          </p:cNvSpPr>
          <p:nvPr/>
        </p:nvSpPr>
        <p:spPr>
          <a:xfrm>
            <a:off x="6872353" y="2724150"/>
            <a:ext cx="5666571" cy="773112"/>
          </a:xfrm>
          <a:prstGeom prst="rect">
            <a:avLst/>
          </a:prstGeom>
        </p:spPr>
        <p:txBody>
          <a:bodyPr vert="horz" wrap="square" lIns="0" tIns="167869" rIns="0" bIns="0" rtlCol="0" anchor="t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37" b="0" kern="1200" cap="none" spc="-147" baseline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563"/>
            <a:r>
              <a:rPr lang="nl-NL" sz="3672" spc="-51" dirty="0">
                <a:latin typeface="Segoe UI Semibold" panose="020B0702040204020203" pitchFamily="34" charset="0"/>
              </a:rPr>
              <a:t>New </a:t>
            </a:r>
            <a:r>
              <a:rPr lang="nl-NL" sz="3672" spc="-51" dirty="0" err="1">
                <a:latin typeface="Segoe UI Semibold" panose="020B0702040204020203" pitchFamily="34" charset="0"/>
              </a:rPr>
              <a:t>functions</a:t>
            </a:r>
            <a:endParaRPr lang="nl-NL" sz="3672" spc="-51" dirty="0">
              <a:latin typeface="Segoe UI Semibold" panose="020B0702040204020203" pitchFamily="34" charset="0"/>
            </a:endParaRPr>
          </a:p>
          <a:p>
            <a:pPr defTabSz="932563"/>
            <a:r>
              <a:rPr lang="nl-NL" sz="2856" spc="-51" dirty="0">
                <a:solidFill>
                  <a:srgbClr val="0078D4"/>
                </a:solidFill>
                <a:latin typeface="Segoe UI Semibold" panose="020B0702040204020203" pitchFamily="34" charset="0"/>
              </a:rPr>
              <a:t>Most are General </a:t>
            </a:r>
            <a:r>
              <a:rPr lang="nl-NL" sz="2856" spc="-51" dirty="0" err="1">
                <a:solidFill>
                  <a:srgbClr val="0078D4"/>
                </a:solidFill>
                <a:latin typeface="Segoe UI Semibold" panose="020B0702040204020203" pitchFamily="34" charset="0"/>
              </a:rPr>
              <a:t>Available</a:t>
            </a:r>
            <a:r>
              <a:rPr lang="nl-NL" sz="2856" spc="-51" dirty="0">
                <a:solidFill>
                  <a:srgbClr val="0078D4"/>
                </a:solidFill>
                <a:latin typeface="Segoe UI Semibold" panose="020B0702040204020203" pitchFamily="34" charset="0"/>
              </a:rPr>
              <a:t> (GA)</a:t>
            </a:r>
          </a:p>
        </p:txBody>
      </p:sp>
      <p:pic>
        <p:nvPicPr>
          <p:cNvPr id="13" name="Afbeelding 12" descr="Plattelandsweg langs de rand van de bergen">
            <a:extLst>
              <a:ext uri="{FF2B5EF4-FFF2-40B4-BE49-F238E27FC236}">
                <a16:creationId xmlns:a16="http://schemas.microsoft.com/office/drawing/2014/main" id="{76B8CA23-E56A-44B7-B067-0BC33988D10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7754"/>
          <a:stretch/>
        </p:blipFill>
        <p:spPr>
          <a:xfrm>
            <a:off x="-276448" y="0"/>
            <a:ext cx="653235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5018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872B6F35-72C5-416F-8051-59844064F111}"/>
              </a:ext>
            </a:extLst>
          </p:cNvPr>
          <p:cNvSpPr/>
          <p:nvPr/>
        </p:nvSpPr>
        <p:spPr bwMode="auto">
          <a:xfrm>
            <a:off x="6567517" y="-156496"/>
            <a:ext cx="5903545" cy="730751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3639EEED-8837-4BF8-81F8-622E98E4C945}"/>
              </a:ext>
            </a:extLst>
          </p:cNvPr>
          <p:cNvSpPr txBox="1">
            <a:spLocks/>
          </p:cNvSpPr>
          <p:nvPr/>
        </p:nvSpPr>
        <p:spPr>
          <a:xfrm>
            <a:off x="427004" y="447675"/>
            <a:ext cx="11888047" cy="9175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91427" rIns="0" bIns="91427" rtlCol="0" anchor="ctr" anchorCtr="0" compatLnSpc="1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38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672" b="0" i="0" u="none" strike="noStrike" kern="1200" cap="none" spc="-102" normalizeH="0" baseline="0" noProof="0" dirty="0" err="1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 Black" pitchFamily="34"/>
                <a:cs typeface="Segoe UI" pitchFamily="34" charset="0"/>
              </a:rPr>
              <a:t>Ignite</a:t>
            </a:r>
            <a:r>
              <a:rPr kumimoji="0" lang="nl-NL" sz="3672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 Black" pitchFamily="34"/>
                <a:cs typeface="Segoe UI" pitchFamily="34" charset="0"/>
              </a:rPr>
              <a:t> 2019 </a:t>
            </a:r>
            <a:r>
              <a:rPr kumimoji="0" lang="nl-NL" sz="3672" b="0" i="0" u="none" strike="noStrike" kern="1200" cap="none" spc="-102" normalizeH="0" baseline="0" noProof="0" dirty="0" err="1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 Black" pitchFamily="34"/>
                <a:cs typeface="Segoe UI" pitchFamily="34" charset="0"/>
              </a:rPr>
              <a:t>announcements</a:t>
            </a:r>
            <a:endParaRPr kumimoji="0" lang="nl-NL" sz="3672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Segoe UI Black" pitchFamily="34"/>
              <a:cs typeface="Segoe UI" pitchFamily="34" charset="0"/>
            </a:endParaRP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DAE7C62E-0B6C-4073-B3AF-E71B675FA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algn="r" defTabSz="930918" rtl="0" eaLnBrk="1" latinLnBrk="0" hangingPunct="1">
              <a:defRPr lang="x-none" sz="815" kern="1200" smtClean="0">
                <a:solidFill>
                  <a:schemeClr val="bg1"/>
                </a:solidFill>
                <a:latin typeface="Segoe UI Semibold" panose="020B0702040204020203" pitchFamily="34" charset="0"/>
                <a:ea typeface="Arial" panose="020B0604020202020204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r" defTabSz="9309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7B4DB-FF93-49F5-8B48-85D85AAA1E51}" type="slidenum">
              <a:rPr kumimoji="0" lang="x-none" sz="815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pPr marL="0" marR="0" lvl="0" indent="0" algn="r" defTabSz="9309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x-none" sz="81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71" name="Rechthoek 170">
            <a:extLst>
              <a:ext uri="{FF2B5EF4-FFF2-40B4-BE49-F238E27FC236}">
                <a16:creationId xmlns:a16="http://schemas.microsoft.com/office/drawing/2014/main" id="{E649FF0A-89FE-4838-9E6E-4E8EEF3832D0}"/>
              </a:ext>
            </a:extLst>
          </p:cNvPr>
          <p:cNvSpPr/>
          <p:nvPr/>
        </p:nvSpPr>
        <p:spPr>
          <a:xfrm>
            <a:off x="6997641" y="1419770"/>
            <a:ext cx="5043296" cy="526297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nline integration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nsitivity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ffice Online</a:t>
            </a: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nsitivity label as column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te: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342900" marR="0" lvl="0" indent="-34290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You cannot change a label within a library;</a:t>
            </a:r>
          </a:p>
          <a:p>
            <a:pPr marL="342900" marR="0" lvl="0" indent="-34290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ere’s no default label option;</a:t>
            </a:r>
          </a:p>
          <a:p>
            <a:pPr marL="342900" marR="0" lvl="0" indent="-34290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-authoring is disabled when a classification label is used…..</a:t>
            </a:r>
          </a:p>
          <a:p>
            <a:pPr marL="285750" marR="0" lvl="0" indent="-28575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52" name="Afbeelding 151">
            <a:extLst>
              <a:ext uri="{FF2B5EF4-FFF2-40B4-BE49-F238E27FC236}">
                <a16:creationId xmlns:a16="http://schemas.microsoft.com/office/drawing/2014/main" id="{F035F5D5-E8A8-4394-BF72-FDB9EC0195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2612" y="1611816"/>
            <a:ext cx="5659604" cy="2254777"/>
          </a:xfrm>
          <a:prstGeom prst="rect">
            <a:avLst/>
          </a:prstGeom>
        </p:spPr>
      </p:pic>
      <p:pic>
        <p:nvPicPr>
          <p:cNvPr id="3" name="Afbeelding 3" descr="Afbeelding met schermafbeelding&#10;&#10;Beschrijving is gegenereerd met zeer hoge betrouwbaarheid">
            <a:extLst>
              <a:ext uri="{FF2B5EF4-FFF2-40B4-BE49-F238E27FC236}">
                <a16:creationId xmlns:a16="http://schemas.microsoft.com/office/drawing/2014/main" id="{15AC70EE-1BB9-4392-9DF6-0750CC78B8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7971" y="4185305"/>
            <a:ext cx="4575577" cy="1798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1044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vGVFEqR_CG7ec0Amwa0A"/>
</p:tagLst>
</file>

<file path=ppt/theme/theme1.xml><?xml version="1.0" encoding="utf-8"?>
<a:theme xmlns:a="http://schemas.openxmlformats.org/drawingml/2006/main" name="6-50001_WPC 2016 Breakout Template">
  <a:themeElements>
    <a:clrScheme name="TechDays 2017 1">
      <a:dk1>
        <a:srgbClr val="505050"/>
      </a:dk1>
      <a:lt1>
        <a:srgbClr val="FFFFFF"/>
      </a:lt1>
      <a:dk2>
        <a:srgbClr val="01168F"/>
      </a:dk2>
      <a:lt2>
        <a:srgbClr val="EAEAEA"/>
      </a:lt2>
      <a:accent1>
        <a:srgbClr val="01168F"/>
      </a:accent1>
      <a:accent2>
        <a:srgbClr val="E61121"/>
      </a:accent2>
      <a:accent3>
        <a:srgbClr val="FEEF00"/>
      </a:accent3>
      <a:accent4>
        <a:srgbClr val="000000"/>
      </a:accent4>
      <a:accent5>
        <a:srgbClr val="515151"/>
      </a:accent5>
      <a:accent6>
        <a:srgbClr val="919191"/>
      </a:accent6>
      <a:hlink>
        <a:srgbClr val="01168D"/>
      </a:hlink>
      <a:folHlink>
        <a:srgbClr val="E61121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712090931_Powerpoint_Template_TechDays2017" id="{DDA45C33-2307-DD49-970B-AE62C02E3D89}" vid="{0674D923-3DFE-BF45-80A6-3B8C135830D4}"/>
    </a:ext>
  </a:extLst>
</a:theme>
</file>

<file path=ppt/theme/theme10.xml><?xml version="1.0" encoding="utf-8"?>
<a:theme xmlns:a="http://schemas.openxmlformats.org/drawingml/2006/main" name="1_One Microsoft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1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3_M365 Teams Bootcamp Template - 2018">
  <a:themeElements>
    <a:clrScheme name="Custom 4">
      <a:dk1>
        <a:srgbClr val="282828"/>
      </a:dk1>
      <a:lt1>
        <a:srgbClr val="FFFFFF"/>
      </a:lt1>
      <a:dk2>
        <a:srgbClr val="282828"/>
      </a:dk2>
      <a:lt2>
        <a:srgbClr val="FFFFFF"/>
      </a:lt2>
      <a:accent1>
        <a:srgbClr val="0078D4"/>
      </a:accent1>
      <a:accent2>
        <a:srgbClr val="002050"/>
      </a:accent2>
      <a:accent3>
        <a:srgbClr val="939393"/>
      </a:accent3>
      <a:accent4>
        <a:srgbClr val="00BCF2"/>
      </a:accent4>
      <a:accent5>
        <a:srgbClr val="6C6E6C"/>
      </a:accent5>
      <a:accent6>
        <a:srgbClr val="2E2F2E"/>
      </a:accent6>
      <a:hlink>
        <a:srgbClr val="0078D4"/>
      </a:hlink>
      <a:folHlink>
        <a:srgbClr val="0078D4"/>
      </a:folHlink>
    </a:clrScheme>
    <a:fontScheme name="Custom 2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 365 PPT Template 2018_2" id="{01A7FB2A-7862-441E-89D5-C3EE05893CAC}" vid="{DEC62A46-47F5-4825-899D-4E8B117FF749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6-50001_WPC 2016 Breakout Template_Dark">
  <a:themeElements>
    <a:clrScheme name="WPC Dark">
      <a:dk1>
        <a:srgbClr val="505050"/>
      </a:dk1>
      <a:lt1>
        <a:srgbClr val="FFFFFF"/>
      </a:lt1>
      <a:dk2>
        <a:srgbClr val="5C2D91"/>
      </a:dk2>
      <a:lt2>
        <a:srgbClr val="EAEAEA"/>
      </a:lt2>
      <a:accent1>
        <a:srgbClr val="5C2D91"/>
      </a:accent1>
      <a:accent2>
        <a:srgbClr val="002050"/>
      </a:accent2>
      <a:accent3>
        <a:srgbClr val="0078D7"/>
      </a:accent3>
      <a:accent4>
        <a:srgbClr val="32145A"/>
      </a:accent4>
      <a:accent5>
        <a:srgbClr val="B4009E"/>
      </a:accent5>
      <a:accent6>
        <a:srgbClr val="EAEAEA"/>
      </a:accent6>
      <a:hlink>
        <a:srgbClr val="0078D7"/>
      </a:hlink>
      <a:folHlink>
        <a:srgbClr val="0078D7"/>
      </a:folHlink>
    </a:clrScheme>
    <a:fontScheme name="Custom 2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712090931_Powerpoint_Template_TechDays2017" id="{DDA45C33-2307-DD49-970B-AE62C02E3D89}" vid="{1D830EBF-7F30-5A4C-B29C-A6C6EEEB41D7}"/>
    </a:ext>
  </a:extLst>
</a:theme>
</file>

<file path=ppt/theme/theme3.xml><?xml version="1.0" encoding="utf-8"?>
<a:theme xmlns:a="http://schemas.openxmlformats.org/drawingml/2006/main" name="1_6-50001_WPC 2016 Breakout Template_Dark">
  <a:themeElements>
    <a:clrScheme name="WPC Dark">
      <a:dk1>
        <a:srgbClr val="505050"/>
      </a:dk1>
      <a:lt1>
        <a:srgbClr val="FFFFFF"/>
      </a:lt1>
      <a:dk2>
        <a:srgbClr val="5C2D91"/>
      </a:dk2>
      <a:lt2>
        <a:srgbClr val="EAEAEA"/>
      </a:lt2>
      <a:accent1>
        <a:srgbClr val="5C2D91"/>
      </a:accent1>
      <a:accent2>
        <a:srgbClr val="002050"/>
      </a:accent2>
      <a:accent3>
        <a:srgbClr val="0078D7"/>
      </a:accent3>
      <a:accent4>
        <a:srgbClr val="32145A"/>
      </a:accent4>
      <a:accent5>
        <a:srgbClr val="B4009E"/>
      </a:accent5>
      <a:accent6>
        <a:srgbClr val="EAEAEA"/>
      </a:accent6>
      <a:hlink>
        <a:srgbClr val="0078D7"/>
      </a:hlink>
      <a:folHlink>
        <a:srgbClr val="0078D7"/>
      </a:folHlink>
    </a:clrScheme>
    <a:fontScheme name="Custom 2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712090931_Powerpoint_Template_TechDays2017" id="{DDA45C33-2307-DD49-970B-AE62C02E3D89}" vid="{A10473C6-9424-ED41-9317-905CDE1ACC77}"/>
    </a:ext>
  </a:extLst>
</a:theme>
</file>

<file path=ppt/theme/theme4.xml><?xml version="1.0" encoding="utf-8"?>
<a:theme xmlns:a="http://schemas.openxmlformats.org/drawingml/2006/main" name="1_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5.xml><?xml version="1.0" encoding="utf-8"?>
<a:theme xmlns:a="http://schemas.openxmlformats.org/drawingml/2006/main" name="One Microsoft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6.xml><?xml version="1.0" encoding="utf-8"?>
<a:theme xmlns:a="http://schemas.openxmlformats.org/drawingml/2006/main" name="2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7.xml><?xml version="1.0" encoding="utf-8"?>
<a:theme xmlns:a="http://schemas.openxmlformats.org/drawingml/2006/main" name="2_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_v03" id="{F4E7AC97-C3BC-4DAC-B23A-C0D4DABB7CB5}" vid="{F1FB81AB-2433-4475-9273-C3E09225E34D}"/>
    </a:ext>
  </a:extLst>
</a:theme>
</file>

<file path=ppt/theme/theme8.xml><?xml version="1.0" encoding="utf-8"?>
<a:theme xmlns:a="http://schemas.openxmlformats.org/drawingml/2006/main" name="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_v03.potx" id="{5E894424-2207-423C-A364-F5291691CAB1}" vid="{DF080804-2077-43CC-975F-A513A0AE6AD8}"/>
    </a:ext>
  </a:extLst>
</a:theme>
</file>

<file path=ppt/theme/theme9.xml><?xml version="1.0" encoding="utf-8"?>
<a:theme xmlns:a="http://schemas.openxmlformats.org/drawingml/2006/main" name="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7_16x9_Template.potx" id="{2A99AE01-A11F-4F2C-9BCC-4E42F4CE769C}" vid="{42DFBAD3-C25F-4FC8-963A-1F73730D7E5C}"/>
    </a:ext>
  </a:extLst>
</a:theme>
</file>

<file path=ppt/theme/themeOverride1.xml><?xml version="1.0" encoding="utf-8"?>
<a:themeOverride xmlns:a="http://schemas.openxmlformats.org/drawingml/2006/main">
  <a:clrScheme name="Custom 19">
    <a:dk1>
      <a:srgbClr val="505050"/>
    </a:dk1>
    <a:lt1>
      <a:srgbClr val="FFFFFF"/>
    </a:lt1>
    <a:dk2>
      <a:srgbClr val="0078D7"/>
    </a:dk2>
    <a:lt2>
      <a:srgbClr val="EAEAEA"/>
    </a:lt2>
    <a:accent1>
      <a:srgbClr val="0078D7"/>
    </a:accent1>
    <a:accent2>
      <a:srgbClr val="B4009E"/>
    </a:accent2>
    <a:accent3>
      <a:srgbClr val="107C10"/>
    </a:accent3>
    <a:accent4>
      <a:srgbClr val="5C2D91"/>
    </a:accent4>
    <a:accent5>
      <a:srgbClr val="008272"/>
    </a:accent5>
    <a:accent6>
      <a:srgbClr val="D83B01"/>
    </a:accent6>
    <a:hlink>
      <a:srgbClr val="0078D7"/>
    </a:hlink>
    <a:folHlink>
      <a:srgbClr val="0078D7"/>
    </a:folHlink>
  </a:clrScheme>
</a:themeOverride>
</file>

<file path=ppt/theme/themeOverride2.xml><?xml version="1.0" encoding="utf-8"?>
<a:themeOverride xmlns:a="http://schemas.openxmlformats.org/drawingml/2006/main">
  <a:clrScheme name="Custom 19">
    <a:dk1>
      <a:srgbClr val="505050"/>
    </a:dk1>
    <a:lt1>
      <a:srgbClr val="FFFFFF"/>
    </a:lt1>
    <a:dk2>
      <a:srgbClr val="0078D7"/>
    </a:dk2>
    <a:lt2>
      <a:srgbClr val="EAEAEA"/>
    </a:lt2>
    <a:accent1>
      <a:srgbClr val="0078D7"/>
    </a:accent1>
    <a:accent2>
      <a:srgbClr val="B4009E"/>
    </a:accent2>
    <a:accent3>
      <a:srgbClr val="107C10"/>
    </a:accent3>
    <a:accent4>
      <a:srgbClr val="5C2D91"/>
    </a:accent4>
    <a:accent5>
      <a:srgbClr val="008272"/>
    </a:accent5>
    <a:accent6>
      <a:srgbClr val="D83B01"/>
    </a:accent6>
    <a:hlink>
      <a:srgbClr val="0078D7"/>
    </a:hlink>
    <a:folHlink>
      <a:srgbClr val="0078D7"/>
    </a:folHlink>
  </a:clrScheme>
</a:themeOverride>
</file>

<file path=ppt/theme/themeOverride3.xml><?xml version="1.0" encoding="utf-8"?>
<a:themeOverride xmlns:a="http://schemas.openxmlformats.org/drawingml/2006/main">
  <a:clrScheme name="Custom 19">
    <a:dk1>
      <a:srgbClr val="505050"/>
    </a:dk1>
    <a:lt1>
      <a:srgbClr val="FFFFFF"/>
    </a:lt1>
    <a:dk2>
      <a:srgbClr val="0078D7"/>
    </a:dk2>
    <a:lt2>
      <a:srgbClr val="EAEAEA"/>
    </a:lt2>
    <a:accent1>
      <a:srgbClr val="0078D7"/>
    </a:accent1>
    <a:accent2>
      <a:srgbClr val="B4009E"/>
    </a:accent2>
    <a:accent3>
      <a:srgbClr val="107C10"/>
    </a:accent3>
    <a:accent4>
      <a:srgbClr val="5C2D91"/>
    </a:accent4>
    <a:accent5>
      <a:srgbClr val="008272"/>
    </a:accent5>
    <a:accent6>
      <a:srgbClr val="D83B01"/>
    </a:accent6>
    <a:hlink>
      <a:srgbClr val="0078D7"/>
    </a:hlink>
    <a:folHlink>
      <a:srgbClr val="0078D7"/>
    </a:folHlink>
  </a:clrScheme>
</a:themeOverride>
</file>

<file path=ppt/theme/themeOverride4.xml><?xml version="1.0" encoding="utf-8"?>
<a:themeOverride xmlns:a="http://schemas.openxmlformats.org/drawingml/2006/main">
  <a:clrScheme name="Custom 19">
    <a:dk1>
      <a:srgbClr val="505050"/>
    </a:dk1>
    <a:lt1>
      <a:srgbClr val="FFFFFF"/>
    </a:lt1>
    <a:dk2>
      <a:srgbClr val="0078D7"/>
    </a:dk2>
    <a:lt2>
      <a:srgbClr val="EAEAEA"/>
    </a:lt2>
    <a:accent1>
      <a:srgbClr val="0078D7"/>
    </a:accent1>
    <a:accent2>
      <a:srgbClr val="B4009E"/>
    </a:accent2>
    <a:accent3>
      <a:srgbClr val="107C10"/>
    </a:accent3>
    <a:accent4>
      <a:srgbClr val="5C2D91"/>
    </a:accent4>
    <a:accent5>
      <a:srgbClr val="008272"/>
    </a:accent5>
    <a:accent6>
      <a:srgbClr val="D83B01"/>
    </a:accent6>
    <a:hlink>
      <a:srgbClr val="0078D7"/>
    </a:hlink>
    <a:folHlink>
      <a:srgbClr val="0078D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7E07073F65C4149BC289DD2338AE11C" ma:contentTypeVersion="4" ma:contentTypeDescription="Create a new document." ma:contentTypeScope="" ma:versionID="e0177f39ce40d5bf696cadab8e92546d">
  <xsd:schema xmlns:xsd="http://www.w3.org/2001/XMLSchema" xmlns:xs="http://www.w3.org/2001/XMLSchema" xmlns:p="http://schemas.microsoft.com/office/2006/metadata/properties" xmlns:ns2="fc3b5099-01ea-4a0b-a9a7-a76df58ffe0c" xmlns:ns3="3be93385-2525-42af-ae9b-fd49266fc527" targetNamespace="http://schemas.microsoft.com/office/2006/metadata/properties" ma:root="true" ma:fieldsID="e8250f78c994541a3e21dcf6672dd227" ns2:_="" ns3:_="">
    <xsd:import namespace="fc3b5099-01ea-4a0b-a9a7-a76df58ffe0c"/>
    <xsd:import namespace="3be93385-2525-42af-ae9b-fd49266fc52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3b5099-01ea-4a0b-a9a7-a76df58ffe0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e93385-2525-42af-ae9b-fd49266fc52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F6EA5E8-EA48-42AE-B375-E6AAA49A4C5D}"/>
</file>

<file path=customXml/itemProps2.xml><?xml version="1.0" encoding="utf-8"?>
<ds:datastoreItem xmlns:ds="http://schemas.openxmlformats.org/officeDocument/2006/customXml" ds:itemID="{07FA045D-16F2-44F7-AA3A-07A63B613BFD}"/>
</file>

<file path=customXml/itemProps3.xml><?xml version="1.0" encoding="utf-8"?>
<ds:datastoreItem xmlns:ds="http://schemas.openxmlformats.org/officeDocument/2006/customXml" ds:itemID="{2E01E9B5-4A52-4687-AD17-591BD90D30B9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64</Words>
  <Application>Microsoft Office PowerPoint</Application>
  <PresentationFormat>Aangepast</PresentationFormat>
  <Paragraphs>192</Paragraphs>
  <Slides>20</Slides>
  <Notes>14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10</vt:i4>
      </vt:variant>
      <vt:variant>
        <vt:lpstr>Thema</vt:lpstr>
      </vt:variant>
      <vt:variant>
        <vt:i4>1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0</vt:i4>
      </vt:variant>
    </vt:vector>
  </HeadingPairs>
  <TitlesOfParts>
    <vt:vector size="43" baseType="lpstr">
      <vt:lpstr>Arial</vt:lpstr>
      <vt:lpstr>Calibri</vt:lpstr>
      <vt:lpstr>Calibri Light</vt:lpstr>
      <vt:lpstr>Consolas</vt:lpstr>
      <vt:lpstr>Segoe UI</vt:lpstr>
      <vt:lpstr>Segoe UI Light</vt:lpstr>
      <vt:lpstr>Segoe UI Semibold</vt:lpstr>
      <vt:lpstr>Segoe UI Semilight</vt:lpstr>
      <vt:lpstr>Whyte Medium</vt:lpstr>
      <vt:lpstr>Wingdings</vt:lpstr>
      <vt:lpstr>6-50001_WPC 2016 Breakout Template</vt:lpstr>
      <vt:lpstr>6-50001_WPC 2016 Breakout Template_Dark</vt:lpstr>
      <vt:lpstr>1_6-50001_WPC 2016 Breakout Template_Dark</vt:lpstr>
      <vt:lpstr>1_5-50203_Microsoft_Ignite_Template</vt:lpstr>
      <vt:lpstr>One Microsoft</vt:lpstr>
      <vt:lpstr>2_LIGHT COLOR TEMPLATE</vt:lpstr>
      <vt:lpstr>2_5-50203_Microsoft_Ignite_Template</vt:lpstr>
      <vt:lpstr>5-50203_Microsoft_Ignite_Template</vt:lpstr>
      <vt:lpstr>5-50109_Microsoft_Light_Template</vt:lpstr>
      <vt:lpstr>1_One Microsoft</vt:lpstr>
      <vt:lpstr>Kantoorthema</vt:lpstr>
      <vt:lpstr>3_M365 Teams Bootcamp Template - 2018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Demo</vt:lpstr>
      <vt:lpstr>PowerPoint-presentatie</vt:lpstr>
      <vt:lpstr>Demo</vt:lpstr>
      <vt:lpstr>PowerPoint-presentatie</vt:lpstr>
      <vt:lpstr>Demo</vt:lpstr>
      <vt:lpstr>PowerPoint-presentatie</vt:lpstr>
      <vt:lpstr>Demo</vt:lpstr>
      <vt:lpstr>PowerPoint-presentatie</vt:lpstr>
      <vt:lpstr>PowerPoint-presentatie</vt:lpstr>
      <vt:lpstr>Wrapping up…</vt:lpstr>
      <vt:lpstr>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revision>1</cp:revision>
  <dcterms:created xsi:type="dcterms:W3CDTF">2020-07-16T06:12:34Z</dcterms:created>
  <dcterms:modified xsi:type="dcterms:W3CDTF">2020-07-16T06:3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7E07073F65C4149BC289DD2338AE11C</vt:lpwstr>
  </property>
  <property fmtid="{D5CDD505-2E9C-101B-9397-08002B2CF9AE}" pid="3" name="Order">
    <vt:r8>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ComplianceAssetId">
    <vt:lpwstr/>
  </property>
  <property fmtid="{D5CDD505-2E9C-101B-9397-08002B2CF9AE}" pid="9" name="TemplateUrl">
    <vt:lpwstr/>
  </property>
</Properties>
</file>